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</p:sldMasterIdLst>
  <p:notesMasterIdLst>
    <p:notesMasterId r:id="rId12"/>
  </p:notesMasterIdLst>
  <p:sldIdLst>
    <p:sldId id="323" r:id="rId5"/>
    <p:sldId id="422" r:id="rId6"/>
    <p:sldId id="433" r:id="rId7"/>
    <p:sldId id="434" r:id="rId8"/>
    <p:sldId id="435" r:id="rId9"/>
    <p:sldId id="436" r:id="rId10"/>
    <p:sldId id="393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12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82159E5-69EB-6507-2A2C-6755E650C527}" name="Nina Goebel" initials="NG" userId="ad04b14e6d1f1003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na Goebel" initials="NG" lastIdx="1" clrIdx="0">
    <p:extLst>
      <p:ext uri="{19B8F6BF-5375-455C-9EA6-DF929625EA0E}">
        <p15:presenceInfo xmlns:p15="http://schemas.microsoft.com/office/powerpoint/2012/main" userId="ad04b14e6d1f100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337B"/>
    <a:srgbClr val="EA5451"/>
    <a:srgbClr val="78AD6C"/>
    <a:srgbClr val="D31D19"/>
    <a:srgbClr val="CBCFD2"/>
    <a:srgbClr val="7E898F"/>
    <a:srgbClr val="5E676C"/>
    <a:srgbClr val="0077BE"/>
    <a:srgbClr val="004D9B"/>
    <a:srgbClr val="0025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4FE398-CAFD-CD43-A5AB-0402D5E358B7}" v="150" dt="2023-04-29T16:59:41.1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377" autoAdjust="0"/>
    <p:restoredTop sz="92606" autoAdjust="0"/>
  </p:normalViewPr>
  <p:slideViewPr>
    <p:cSldViewPr snapToGrid="0" showGuides="1">
      <p:cViewPr varScale="1">
        <p:scale>
          <a:sx n="102" d="100"/>
          <a:sy n="102" d="100"/>
        </p:scale>
        <p:origin x="240" y="108"/>
      </p:cViewPr>
      <p:guideLst>
        <p:guide pos="512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8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72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7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73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ff, Constantin Aaron" userId="dddf5dec-b8d9-4157-833d-3fef5fd37ca5" providerId="ADAL" clId="{CD65512A-02F2-2942-A150-082CF1F1C235}"/>
    <pc:docChg chg="undo custSel addSld delSld modSld sldOrd">
      <pc:chgData name="Wolff, Constantin Aaron" userId="dddf5dec-b8d9-4157-833d-3fef5fd37ca5" providerId="ADAL" clId="{CD65512A-02F2-2942-A150-082CF1F1C235}" dt="2023-02-13T17:40:19.676" v="273" actId="20577"/>
      <pc:docMkLst>
        <pc:docMk/>
      </pc:docMkLst>
      <pc:sldChg chg="modSp mod">
        <pc:chgData name="Wolff, Constantin Aaron" userId="dddf5dec-b8d9-4157-833d-3fef5fd37ca5" providerId="ADAL" clId="{CD65512A-02F2-2942-A150-082CF1F1C235}" dt="2023-02-13T17:23:30.511" v="146" actId="20577"/>
        <pc:sldMkLst>
          <pc:docMk/>
          <pc:sldMk cId="2119470082" sldId="280"/>
        </pc:sldMkLst>
        <pc:spChg chg="mod">
          <ac:chgData name="Wolff, Constantin Aaron" userId="dddf5dec-b8d9-4157-833d-3fef5fd37ca5" providerId="ADAL" clId="{CD65512A-02F2-2942-A150-082CF1F1C235}" dt="2023-02-13T17:22:46.370" v="129" actId="20577"/>
          <ac:spMkLst>
            <pc:docMk/>
            <pc:sldMk cId="2119470082" sldId="280"/>
            <ac:spMk id="2" creationId="{F0FC51F0-7149-F157-E3D7-D0DEFF4B25D3}"/>
          </ac:spMkLst>
        </pc:spChg>
        <pc:spChg chg="mod">
          <ac:chgData name="Wolff, Constantin Aaron" userId="dddf5dec-b8d9-4157-833d-3fef5fd37ca5" providerId="ADAL" clId="{CD65512A-02F2-2942-A150-082CF1F1C235}" dt="2023-02-13T17:23:30.511" v="146" actId="20577"/>
          <ac:spMkLst>
            <pc:docMk/>
            <pc:sldMk cId="2119470082" sldId="280"/>
            <ac:spMk id="5" creationId="{718F434B-88D4-3DAD-A8E7-BD58F3C078B8}"/>
          </ac:spMkLst>
        </pc:spChg>
      </pc:sldChg>
      <pc:sldChg chg="addSp delSp modSp mod">
        <pc:chgData name="Wolff, Constantin Aaron" userId="dddf5dec-b8d9-4157-833d-3fef5fd37ca5" providerId="ADAL" clId="{CD65512A-02F2-2942-A150-082CF1F1C235}" dt="2023-02-13T17:28:22.428" v="220"/>
        <pc:sldMkLst>
          <pc:docMk/>
          <pc:sldMk cId="1283075737" sldId="305"/>
        </pc:sldMkLst>
        <pc:spChg chg="add del mod">
          <ac:chgData name="Wolff, Constantin Aaron" userId="dddf5dec-b8d9-4157-833d-3fef5fd37ca5" providerId="ADAL" clId="{CD65512A-02F2-2942-A150-082CF1F1C235}" dt="2023-02-13T17:28:11.004" v="219" actId="478"/>
          <ac:spMkLst>
            <pc:docMk/>
            <pc:sldMk cId="1283075737" sldId="305"/>
            <ac:spMk id="4" creationId="{89A3D0BB-1B96-ED8C-55E5-4D9E78AD1F79}"/>
          </ac:spMkLst>
        </pc:spChg>
        <pc:spChg chg="mod">
          <ac:chgData name="Wolff, Constantin Aaron" userId="dddf5dec-b8d9-4157-833d-3fef5fd37ca5" providerId="ADAL" clId="{CD65512A-02F2-2942-A150-082CF1F1C235}" dt="2023-02-13T17:28:01.633" v="217" actId="20577"/>
          <ac:spMkLst>
            <pc:docMk/>
            <pc:sldMk cId="1283075737" sldId="305"/>
            <ac:spMk id="7" creationId="{A2CF9E7C-F97B-9007-3352-44FD367BD6BF}"/>
          </ac:spMkLst>
        </pc:spChg>
        <pc:spChg chg="mod">
          <ac:chgData name="Wolff, Constantin Aaron" userId="dddf5dec-b8d9-4157-833d-3fef5fd37ca5" providerId="ADAL" clId="{CD65512A-02F2-2942-A150-082CF1F1C235}" dt="2023-02-13T17:28:22.428" v="220"/>
          <ac:spMkLst>
            <pc:docMk/>
            <pc:sldMk cId="1283075737" sldId="305"/>
            <ac:spMk id="8" creationId="{44294688-FB15-94A7-EEFC-C89A1DBE79B7}"/>
          </ac:spMkLst>
        </pc:spChg>
        <pc:spChg chg="del">
          <ac:chgData name="Wolff, Constantin Aaron" userId="dddf5dec-b8d9-4157-833d-3fef5fd37ca5" providerId="ADAL" clId="{CD65512A-02F2-2942-A150-082CF1F1C235}" dt="2023-02-13T17:28:06.034" v="218" actId="478"/>
          <ac:spMkLst>
            <pc:docMk/>
            <pc:sldMk cId="1283075737" sldId="305"/>
            <ac:spMk id="9" creationId="{6A4C709B-3F10-3E2A-51C7-7A92128D4D49}"/>
          </ac:spMkLst>
        </pc:spChg>
      </pc:sldChg>
      <pc:sldChg chg="modSp mod">
        <pc:chgData name="Wolff, Constantin Aaron" userId="dddf5dec-b8d9-4157-833d-3fef5fd37ca5" providerId="ADAL" clId="{CD65512A-02F2-2942-A150-082CF1F1C235}" dt="2023-02-13T17:40:19.676" v="273" actId="20577"/>
        <pc:sldMkLst>
          <pc:docMk/>
          <pc:sldMk cId="1168173183" sldId="323"/>
        </pc:sldMkLst>
        <pc:spChg chg="mod">
          <ac:chgData name="Wolff, Constantin Aaron" userId="dddf5dec-b8d9-4157-833d-3fef5fd37ca5" providerId="ADAL" clId="{CD65512A-02F2-2942-A150-082CF1F1C235}" dt="2023-02-13T14:51:40.178" v="56" actId="20577"/>
          <ac:spMkLst>
            <pc:docMk/>
            <pc:sldMk cId="1168173183" sldId="323"/>
            <ac:spMk id="4" creationId="{24AA06F5-3910-9580-221C-92049A8B1486}"/>
          </ac:spMkLst>
        </pc:spChg>
        <pc:spChg chg="mod">
          <ac:chgData name="Wolff, Constantin Aaron" userId="dddf5dec-b8d9-4157-833d-3fef5fd37ca5" providerId="ADAL" clId="{CD65512A-02F2-2942-A150-082CF1F1C235}" dt="2023-02-13T14:52:46.340" v="75" actId="14100"/>
          <ac:spMkLst>
            <pc:docMk/>
            <pc:sldMk cId="1168173183" sldId="323"/>
            <ac:spMk id="5" creationId="{F88186F2-0ACA-A907-0EC2-2A42ED75D503}"/>
          </ac:spMkLst>
        </pc:spChg>
        <pc:spChg chg="mod">
          <ac:chgData name="Wolff, Constantin Aaron" userId="dddf5dec-b8d9-4157-833d-3fef5fd37ca5" providerId="ADAL" clId="{CD65512A-02F2-2942-A150-082CF1F1C235}" dt="2023-02-13T17:40:19.676" v="273" actId="20577"/>
          <ac:spMkLst>
            <pc:docMk/>
            <pc:sldMk cId="1168173183" sldId="323"/>
            <ac:spMk id="11" creationId="{056A66FA-0392-54A9-7CBF-8B01F93C7062}"/>
          </ac:spMkLst>
        </pc:spChg>
      </pc:sldChg>
      <pc:sldChg chg="addSp delSp modSp mod">
        <pc:chgData name="Wolff, Constantin Aaron" userId="dddf5dec-b8d9-4157-833d-3fef5fd37ca5" providerId="ADAL" clId="{CD65512A-02F2-2942-A150-082CF1F1C235}" dt="2023-02-13T17:39:58.566" v="262" actId="1076"/>
        <pc:sldMkLst>
          <pc:docMk/>
          <pc:sldMk cId="1202273317" sldId="328"/>
        </pc:sldMkLst>
        <pc:spChg chg="mod">
          <ac:chgData name="Wolff, Constantin Aaron" userId="dddf5dec-b8d9-4157-833d-3fef5fd37ca5" providerId="ADAL" clId="{CD65512A-02F2-2942-A150-082CF1F1C235}" dt="2023-02-13T17:39:50.777" v="261" actId="1076"/>
          <ac:spMkLst>
            <pc:docMk/>
            <pc:sldMk cId="1202273317" sldId="328"/>
            <ac:spMk id="3" creationId="{3F5F21AC-BD91-5BC1-7F01-8791466E86A2}"/>
          </ac:spMkLst>
        </pc:spChg>
        <pc:spChg chg="add del">
          <ac:chgData name="Wolff, Constantin Aaron" userId="dddf5dec-b8d9-4157-833d-3fef5fd37ca5" providerId="ADAL" clId="{CD65512A-02F2-2942-A150-082CF1F1C235}" dt="2023-02-13T17:38:02.449" v="231" actId="22"/>
          <ac:spMkLst>
            <pc:docMk/>
            <pc:sldMk cId="1202273317" sldId="328"/>
            <ac:spMk id="7" creationId="{BAF9B9E6-CF0A-1152-D533-72E503498E1B}"/>
          </ac:spMkLst>
        </pc:spChg>
        <pc:spChg chg="add del">
          <ac:chgData name="Wolff, Constantin Aaron" userId="dddf5dec-b8d9-4157-833d-3fef5fd37ca5" providerId="ADAL" clId="{CD65512A-02F2-2942-A150-082CF1F1C235}" dt="2023-02-13T17:38:06.452" v="233" actId="22"/>
          <ac:spMkLst>
            <pc:docMk/>
            <pc:sldMk cId="1202273317" sldId="328"/>
            <ac:spMk id="9" creationId="{6F659281-F026-76F6-2B26-24680DB7831B}"/>
          </ac:spMkLst>
        </pc:spChg>
        <pc:spChg chg="add del mod">
          <ac:chgData name="Wolff, Constantin Aaron" userId="dddf5dec-b8d9-4157-833d-3fef5fd37ca5" providerId="ADAL" clId="{CD65512A-02F2-2942-A150-082CF1F1C235}" dt="2023-02-13T17:38:14.676" v="235"/>
          <ac:spMkLst>
            <pc:docMk/>
            <pc:sldMk cId="1202273317" sldId="328"/>
            <ac:spMk id="10" creationId="{7388C887-2E3A-F213-A920-1E3F492D566A}"/>
          </ac:spMkLst>
        </pc:spChg>
        <pc:spChg chg="add del mod">
          <ac:chgData name="Wolff, Constantin Aaron" userId="dddf5dec-b8d9-4157-833d-3fef5fd37ca5" providerId="ADAL" clId="{CD65512A-02F2-2942-A150-082CF1F1C235}" dt="2023-02-13T17:38:22.831" v="239"/>
          <ac:spMkLst>
            <pc:docMk/>
            <pc:sldMk cId="1202273317" sldId="328"/>
            <ac:spMk id="12" creationId="{ACD51274-3AB6-3F27-9A94-F121E50666C9}"/>
          </ac:spMkLst>
        </pc:spChg>
        <pc:spChg chg="add del mod">
          <ac:chgData name="Wolff, Constantin Aaron" userId="dddf5dec-b8d9-4157-833d-3fef5fd37ca5" providerId="ADAL" clId="{CD65512A-02F2-2942-A150-082CF1F1C235}" dt="2023-02-13T17:38:31.259" v="241"/>
          <ac:spMkLst>
            <pc:docMk/>
            <pc:sldMk cId="1202273317" sldId="328"/>
            <ac:spMk id="13" creationId="{E1B723A9-5053-8B2A-5A60-2022FAC99726}"/>
          </ac:spMkLst>
        </pc:spChg>
        <pc:spChg chg="add del mod">
          <ac:chgData name="Wolff, Constantin Aaron" userId="dddf5dec-b8d9-4157-833d-3fef5fd37ca5" providerId="ADAL" clId="{CD65512A-02F2-2942-A150-082CF1F1C235}" dt="2023-02-13T17:38:32.858" v="243"/>
          <ac:spMkLst>
            <pc:docMk/>
            <pc:sldMk cId="1202273317" sldId="328"/>
            <ac:spMk id="14" creationId="{AC2B9372-1E0F-4366-883D-C5F6BA140EA7}"/>
          </ac:spMkLst>
        </pc:spChg>
        <pc:spChg chg="add del mod">
          <ac:chgData name="Wolff, Constantin Aaron" userId="dddf5dec-b8d9-4157-833d-3fef5fd37ca5" providerId="ADAL" clId="{CD65512A-02F2-2942-A150-082CF1F1C235}" dt="2023-02-13T17:38:37.399" v="245"/>
          <ac:spMkLst>
            <pc:docMk/>
            <pc:sldMk cId="1202273317" sldId="328"/>
            <ac:spMk id="15" creationId="{08889F77-CA5A-84AD-A32B-33437D5EC1F8}"/>
          </ac:spMkLst>
        </pc:spChg>
        <pc:spChg chg="add del mod">
          <ac:chgData name="Wolff, Constantin Aaron" userId="dddf5dec-b8d9-4157-833d-3fef5fd37ca5" providerId="ADAL" clId="{CD65512A-02F2-2942-A150-082CF1F1C235}" dt="2023-02-13T17:38:39.102" v="247"/>
          <ac:spMkLst>
            <pc:docMk/>
            <pc:sldMk cId="1202273317" sldId="328"/>
            <ac:spMk id="16" creationId="{37389D51-A66F-DC05-11ED-3B62F9E7EE81}"/>
          </ac:spMkLst>
        </pc:spChg>
        <pc:picChg chg="add del">
          <ac:chgData name="Wolff, Constantin Aaron" userId="dddf5dec-b8d9-4157-833d-3fef5fd37ca5" providerId="ADAL" clId="{CD65512A-02F2-2942-A150-082CF1F1C235}" dt="2023-02-13T17:38:17.634" v="237"/>
          <ac:picMkLst>
            <pc:docMk/>
            <pc:sldMk cId="1202273317" sldId="328"/>
            <ac:picMk id="11" creationId="{C07972A6-B82A-28DC-5582-296CB5C3F512}"/>
          </ac:picMkLst>
        </pc:picChg>
        <pc:picChg chg="add mod">
          <ac:chgData name="Wolff, Constantin Aaron" userId="dddf5dec-b8d9-4157-833d-3fef5fd37ca5" providerId="ADAL" clId="{CD65512A-02F2-2942-A150-082CF1F1C235}" dt="2023-02-13T17:39:58.566" v="262" actId="1076"/>
          <ac:picMkLst>
            <pc:docMk/>
            <pc:sldMk cId="1202273317" sldId="328"/>
            <ac:picMk id="17" creationId="{8F0BC676-A299-8CC5-6B61-C25ED9743891}"/>
          </ac:picMkLst>
        </pc:picChg>
      </pc:sldChg>
      <pc:sldChg chg="del">
        <pc:chgData name="Wolff, Constantin Aaron" userId="dddf5dec-b8d9-4157-833d-3fef5fd37ca5" providerId="ADAL" clId="{CD65512A-02F2-2942-A150-082CF1F1C235}" dt="2023-02-13T17:40:06.149" v="263" actId="2696"/>
        <pc:sldMkLst>
          <pc:docMk/>
          <pc:sldMk cId="579920283" sldId="329"/>
        </pc:sldMkLst>
      </pc:sldChg>
      <pc:sldChg chg="addSp delSp modSp mod ord">
        <pc:chgData name="Wolff, Constantin Aaron" userId="dddf5dec-b8d9-4157-833d-3fef5fd37ca5" providerId="ADAL" clId="{CD65512A-02F2-2942-A150-082CF1F1C235}" dt="2023-02-13T17:27:29.816" v="207"/>
        <pc:sldMkLst>
          <pc:docMk/>
          <pc:sldMk cId="2796171784" sldId="350"/>
        </pc:sldMkLst>
        <pc:spChg chg="del">
          <ac:chgData name="Wolff, Constantin Aaron" userId="dddf5dec-b8d9-4157-833d-3fef5fd37ca5" providerId="ADAL" clId="{CD65512A-02F2-2942-A150-082CF1F1C235}" dt="2023-02-13T17:24:03.502" v="175" actId="478"/>
          <ac:spMkLst>
            <pc:docMk/>
            <pc:sldMk cId="2796171784" sldId="350"/>
            <ac:spMk id="3" creationId="{43A3B3BB-C626-7AC5-8134-2D80B60A94E5}"/>
          </ac:spMkLst>
        </pc:spChg>
        <pc:spChg chg="mod">
          <ac:chgData name="Wolff, Constantin Aaron" userId="dddf5dec-b8d9-4157-833d-3fef5fd37ca5" providerId="ADAL" clId="{CD65512A-02F2-2942-A150-082CF1F1C235}" dt="2023-02-13T17:23:52.213" v="174" actId="20577"/>
          <ac:spMkLst>
            <pc:docMk/>
            <pc:sldMk cId="2796171784" sldId="350"/>
            <ac:spMk id="4" creationId="{10699198-D88E-FC51-2F02-23497BB7A8C9}"/>
          </ac:spMkLst>
        </pc:spChg>
        <pc:spChg chg="mod">
          <ac:chgData name="Wolff, Constantin Aaron" userId="dddf5dec-b8d9-4157-833d-3fef5fd37ca5" providerId="ADAL" clId="{CD65512A-02F2-2942-A150-082CF1F1C235}" dt="2023-02-13T17:27:29.816" v="207"/>
          <ac:spMkLst>
            <pc:docMk/>
            <pc:sldMk cId="2796171784" sldId="350"/>
            <ac:spMk id="7" creationId="{7C315CE0-2C53-2CDA-651F-6D125EABA8D3}"/>
          </ac:spMkLst>
        </pc:spChg>
        <pc:spChg chg="add del">
          <ac:chgData name="Wolff, Constantin Aaron" userId="dddf5dec-b8d9-4157-833d-3fef5fd37ca5" providerId="ADAL" clId="{CD65512A-02F2-2942-A150-082CF1F1C235}" dt="2023-02-13T17:26:59.140" v="202" actId="931"/>
          <ac:spMkLst>
            <pc:docMk/>
            <pc:sldMk cId="2796171784" sldId="350"/>
            <ac:spMk id="9" creationId="{8ECC0E9A-2ADF-5449-2F8A-68FF401C0C7B}"/>
          </ac:spMkLst>
        </pc:spChg>
        <pc:spChg chg="add del mod">
          <ac:chgData name="Wolff, Constantin Aaron" userId="dddf5dec-b8d9-4157-833d-3fef5fd37ca5" providerId="ADAL" clId="{CD65512A-02F2-2942-A150-082CF1F1C235}" dt="2023-02-13T17:24:23.164" v="197" actId="20577"/>
          <ac:spMkLst>
            <pc:docMk/>
            <pc:sldMk cId="2796171784" sldId="350"/>
            <ac:spMk id="10" creationId="{CE549295-19AD-88D0-B2EB-9353404C8283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11" creationId="{0D200095-212B-CEF8-597A-E257AE9CE37E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12" creationId="{777A6EF8-9297-0637-B6B4-0759157CC9DD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15" creationId="{473F8E55-4F7D-4BAC-9C10-B78C22AE240D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16" creationId="{FA46B129-4172-293F-B76F-86AC48443890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17" creationId="{5E4063C7-747A-EA7E-AD2C-E194DEACE4EA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19" creationId="{E0F41D9A-C023-5BBB-F21F-25F6DADFC01D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20" creationId="{BDBF947B-A02A-583E-5774-F3D1CC064473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21" creationId="{802F21AA-50F4-4CD2-9138-72E58252487C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22" creationId="{0A14110B-7DEB-7B70-2116-2C2403AFBA3B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23" creationId="{B961AF1F-19C4-8506-6BD4-62FC803D2E88}"/>
          </ac:spMkLst>
        </pc:spChg>
        <pc:spChg chg="add del mod">
          <ac:chgData name="Wolff, Constantin Aaron" userId="dddf5dec-b8d9-4157-833d-3fef5fd37ca5" providerId="ADAL" clId="{CD65512A-02F2-2942-A150-082CF1F1C235}" dt="2023-02-13T17:24:48.117" v="199"/>
          <ac:spMkLst>
            <pc:docMk/>
            <pc:sldMk cId="2796171784" sldId="350"/>
            <ac:spMk id="24" creationId="{F530C2C4-08A7-58EE-2895-CF7D4EA1A434}"/>
          </ac:spMkLst>
        </pc:spChg>
        <pc:picChg chg="add del mod">
          <ac:chgData name="Wolff, Constantin Aaron" userId="dddf5dec-b8d9-4157-833d-3fef5fd37ca5" providerId="ADAL" clId="{CD65512A-02F2-2942-A150-082CF1F1C235}" dt="2023-02-13T17:26:59.140" v="202" actId="931"/>
          <ac:picMkLst>
            <pc:docMk/>
            <pc:sldMk cId="2796171784" sldId="350"/>
            <ac:picMk id="26" creationId="{89258F62-05D2-B7B4-3A58-B99DEF702DFF}"/>
          </ac:picMkLst>
        </pc:picChg>
        <pc:cxnChg chg="add del mod">
          <ac:chgData name="Wolff, Constantin Aaron" userId="dddf5dec-b8d9-4157-833d-3fef5fd37ca5" providerId="ADAL" clId="{CD65512A-02F2-2942-A150-082CF1F1C235}" dt="2023-02-13T17:24:48.117" v="199"/>
          <ac:cxnSpMkLst>
            <pc:docMk/>
            <pc:sldMk cId="2796171784" sldId="350"/>
            <ac:cxnSpMk id="13" creationId="{8BD1D45E-7EDA-8646-9782-DA3BBD0AF918}"/>
          </ac:cxnSpMkLst>
        </pc:cxnChg>
        <pc:cxnChg chg="add del mod">
          <ac:chgData name="Wolff, Constantin Aaron" userId="dddf5dec-b8d9-4157-833d-3fef5fd37ca5" providerId="ADAL" clId="{CD65512A-02F2-2942-A150-082CF1F1C235}" dt="2023-02-13T17:24:48.117" v="199"/>
          <ac:cxnSpMkLst>
            <pc:docMk/>
            <pc:sldMk cId="2796171784" sldId="350"/>
            <ac:cxnSpMk id="14" creationId="{783D4C3E-0DCB-B685-DFFC-7D41E4453458}"/>
          </ac:cxnSpMkLst>
        </pc:cxnChg>
        <pc:cxnChg chg="add del mod">
          <ac:chgData name="Wolff, Constantin Aaron" userId="dddf5dec-b8d9-4157-833d-3fef5fd37ca5" providerId="ADAL" clId="{CD65512A-02F2-2942-A150-082CF1F1C235}" dt="2023-02-13T17:24:48.117" v="199"/>
          <ac:cxnSpMkLst>
            <pc:docMk/>
            <pc:sldMk cId="2796171784" sldId="350"/>
            <ac:cxnSpMk id="18" creationId="{2B41C07E-9436-C3A9-05A3-BB67F6450EDA}"/>
          </ac:cxnSpMkLst>
        </pc:cxnChg>
      </pc:sldChg>
      <pc:sldChg chg="add">
        <pc:chgData name="Wolff, Constantin Aaron" userId="dddf5dec-b8d9-4157-833d-3fef5fd37ca5" providerId="ADAL" clId="{CD65512A-02F2-2942-A150-082CF1F1C235}" dt="2023-02-13T17:22:23.429" v="106" actId="2890"/>
        <pc:sldMkLst>
          <pc:docMk/>
          <pc:sldMk cId="1107770023" sldId="361"/>
        </pc:sldMkLst>
      </pc:sldChg>
    </pc:docChg>
  </pc:docChgLst>
  <pc:docChgLst>
    <pc:chgData name="Wolff, Constantin Aaron" userId="dddf5dec-b8d9-4157-833d-3fef5fd37ca5" providerId="ADAL" clId="{554FE398-CAFD-CD43-A5AB-0402D5E358B7}"/>
    <pc:docChg chg="undo custSel addSld delSld modSld">
      <pc:chgData name="Wolff, Constantin Aaron" userId="dddf5dec-b8d9-4157-833d-3fef5fd37ca5" providerId="ADAL" clId="{554FE398-CAFD-CD43-A5AB-0402D5E358B7}" dt="2023-04-29T17:01:39.818" v="1429" actId="20577"/>
      <pc:docMkLst>
        <pc:docMk/>
      </pc:docMkLst>
      <pc:sldChg chg="addSp delSp modSp add mod">
        <pc:chgData name="Wolff, Constantin Aaron" userId="dddf5dec-b8d9-4157-833d-3fef5fd37ca5" providerId="ADAL" clId="{554FE398-CAFD-CD43-A5AB-0402D5E358B7}" dt="2023-04-29T16:11:34.893" v="818"/>
        <pc:sldMkLst>
          <pc:docMk/>
          <pc:sldMk cId="1857822371" sldId="288"/>
        </pc:sldMkLst>
        <pc:spChg chg="del">
          <ac:chgData name="Wolff, Constantin Aaron" userId="dddf5dec-b8d9-4157-833d-3fef5fd37ca5" providerId="ADAL" clId="{554FE398-CAFD-CD43-A5AB-0402D5E358B7}" dt="2023-04-29T15:22:37.085" v="15" actId="478"/>
          <ac:spMkLst>
            <pc:docMk/>
            <pc:sldMk cId="1857822371" sldId="288"/>
            <ac:spMk id="2" creationId="{4726FF29-02EA-DC56-6896-001243B3A988}"/>
          </ac:spMkLst>
        </pc:spChg>
        <pc:spChg chg="add del mod">
          <ac:chgData name="Wolff, Constantin Aaron" userId="dddf5dec-b8d9-4157-833d-3fef5fd37ca5" providerId="ADAL" clId="{554FE398-CAFD-CD43-A5AB-0402D5E358B7}" dt="2023-04-29T15:22:35.523" v="14"/>
          <ac:spMkLst>
            <pc:docMk/>
            <pc:sldMk cId="1857822371" sldId="288"/>
            <ac:spMk id="3" creationId="{E420B9B3-41CB-DDCE-11F5-D934648801F0}"/>
          </ac:spMkLst>
        </pc:spChg>
        <pc:spChg chg="del">
          <ac:chgData name="Wolff, Constantin Aaron" userId="dddf5dec-b8d9-4157-833d-3fef5fd37ca5" providerId="ADAL" clId="{554FE398-CAFD-CD43-A5AB-0402D5E358B7}" dt="2023-04-29T15:22:45.295" v="18" actId="478"/>
          <ac:spMkLst>
            <pc:docMk/>
            <pc:sldMk cId="1857822371" sldId="288"/>
            <ac:spMk id="5" creationId="{FAE02289-0B48-DA42-8D64-A28290F9A50A}"/>
          </ac:spMkLst>
        </pc:spChg>
        <pc:spChg chg="del">
          <ac:chgData name="Wolff, Constantin Aaron" userId="dddf5dec-b8d9-4157-833d-3fef5fd37ca5" providerId="ADAL" clId="{554FE398-CAFD-CD43-A5AB-0402D5E358B7}" dt="2023-04-29T15:22:58.694" v="21" actId="478"/>
          <ac:spMkLst>
            <pc:docMk/>
            <pc:sldMk cId="1857822371" sldId="288"/>
            <ac:spMk id="10" creationId="{C83116BC-55F6-73A9-F392-8BAB67273518}"/>
          </ac:spMkLst>
        </pc:spChg>
        <pc:spChg chg="mod">
          <ac:chgData name="Wolff, Constantin Aaron" userId="dddf5dec-b8d9-4157-833d-3fef5fd37ca5" providerId="ADAL" clId="{554FE398-CAFD-CD43-A5AB-0402D5E358B7}" dt="2023-04-29T15:22:12.434" v="6" actId="403"/>
          <ac:spMkLst>
            <pc:docMk/>
            <pc:sldMk cId="1857822371" sldId="288"/>
            <ac:spMk id="13" creationId="{F6885CEC-FE95-70A8-7135-7FDCDD2B900C}"/>
          </ac:spMkLst>
        </pc:spChg>
        <pc:spChg chg="add del mod">
          <ac:chgData name="Wolff, Constantin Aaron" userId="dddf5dec-b8d9-4157-833d-3fef5fd37ca5" providerId="ADAL" clId="{554FE398-CAFD-CD43-A5AB-0402D5E358B7}" dt="2023-04-29T15:22:38.290" v="16" actId="478"/>
          <ac:spMkLst>
            <pc:docMk/>
            <pc:sldMk cId="1857822371" sldId="288"/>
            <ac:spMk id="15" creationId="{0E3E6983-FAA1-DBBA-7ED5-2F158BCEB207}"/>
          </ac:spMkLst>
        </pc:spChg>
        <pc:spChg chg="add mod">
          <ac:chgData name="Wolff, Constantin Aaron" userId="dddf5dec-b8d9-4157-833d-3fef5fd37ca5" providerId="ADAL" clId="{554FE398-CAFD-CD43-A5AB-0402D5E358B7}" dt="2023-04-29T15:22:38.644" v="17"/>
          <ac:spMkLst>
            <pc:docMk/>
            <pc:sldMk cId="1857822371" sldId="288"/>
            <ac:spMk id="16" creationId="{E9606B5D-FC73-BDC1-8E36-2BD01F8A1D6C}"/>
          </ac:spMkLst>
        </pc:spChg>
        <pc:spChg chg="add del mod">
          <ac:chgData name="Wolff, Constantin Aaron" userId="dddf5dec-b8d9-4157-833d-3fef5fd37ca5" providerId="ADAL" clId="{554FE398-CAFD-CD43-A5AB-0402D5E358B7}" dt="2023-04-29T15:22:48.578" v="19" actId="478"/>
          <ac:spMkLst>
            <pc:docMk/>
            <pc:sldMk cId="1857822371" sldId="288"/>
            <ac:spMk id="18" creationId="{F41EABCF-502D-B133-DF10-241BBC6FE119}"/>
          </ac:spMkLst>
        </pc:spChg>
        <pc:spChg chg="mod">
          <ac:chgData name="Wolff, Constantin Aaron" userId="dddf5dec-b8d9-4157-833d-3fef5fd37ca5" providerId="ADAL" clId="{554FE398-CAFD-CD43-A5AB-0402D5E358B7}" dt="2023-04-29T15:22:16.158" v="8" actId="403"/>
          <ac:spMkLst>
            <pc:docMk/>
            <pc:sldMk cId="1857822371" sldId="288"/>
            <ac:spMk id="19" creationId="{718EAC69-45DC-0912-13EB-713DB470DCE4}"/>
          </ac:spMkLst>
        </pc:spChg>
        <pc:spChg chg="add mod">
          <ac:chgData name="Wolff, Constantin Aaron" userId="dddf5dec-b8d9-4157-833d-3fef5fd37ca5" providerId="ADAL" clId="{554FE398-CAFD-CD43-A5AB-0402D5E358B7}" dt="2023-04-29T15:22:49.328" v="20"/>
          <ac:spMkLst>
            <pc:docMk/>
            <pc:sldMk cId="1857822371" sldId="288"/>
            <ac:spMk id="24" creationId="{FD2C809B-6421-6A3D-B6AE-A3DAD650C08F}"/>
          </ac:spMkLst>
        </pc:spChg>
        <pc:spChg chg="mod">
          <ac:chgData name="Wolff, Constantin Aaron" userId="dddf5dec-b8d9-4157-833d-3fef5fd37ca5" providerId="ADAL" clId="{554FE398-CAFD-CD43-A5AB-0402D5E358B7}" dt="2023-04-29T15:22:19.408" v="10" actId="403"/>
          <ac:spMkLst>
            <pc:docMk/>
            <pc:sldMk cId="1857822371" sldId="288"/>
            <ac:spMk id="25" creationId="{9C21531D-0F02-F0DF-5AB8-53BE37E3893F}"/>
          </ac:spMkLst>
        </pc:spChg>
        <pc:spChg chg="add del mod">
          <ac:chgData name="Wolff, Constantin Aaron" userId="dddf5dec-b8d9-4157-833d-3fef5fd37ca5" providerId="ADAL" clId="{554FE398-CAFD-CD43-A5AB-0402D5E358B7}" dt="2023-04-29T16:11:34.677" v="817" actId="478"/>
          <ac:spMkLst>
            <pc:docMk/>
            <pc:sldMk cId="1857822371" sldId="288"/>
            <ac:spMk id="30" creationId="{6CDB81AC-9694-D962-1ED0-CA00FD55E311}"/>
          </ac:spMkLst>
        </pc:spChg>
        <pc:spChg chg="add mod">
          <ac:chgData name="Wolff, Constantin Aaron" userId="dddf5dec-b8d9-4157-833d-3fef5fd37ca5" providerId="ADAL" clId="{554FE398-CAFD-CD43-A5AB-0402D5E358B7}" dt="2023-04-29T16:11:34.893" v="818"/>
          <ac:spMkLst>
            <pc:docMk/>
            <pc:sldMk cId="1857822371" sldId="288"/>
            <ac:spMk id="31" creationId="{D21B5CFF-E0B5-7F54-7969-6130458F26C4}"/>
          </ac:spMkLst>
        </pc:spChg>
        <pc:spChg chg="mod">
          <ac:chgData name="Wolff, Constantin Aaron" userId="dddf5dec-b8d9-4157-833d-3fef5fd37ca5" providerId="ADAL" clId="{554FE398-CAFD-CD43-A5AB-0402D5E358B7}" dt="2023-04-29T15:22:23.592" v="12" actId="403"/>
          <ac:spMkLst>
            <pc:docMk/>
            <pc:sldMk cId="1857822371" sldId="288"/>
            <ac:spMk id="40" creationId="{332BD986-BB49-47D8-EE67-888B08D3822C}"/>
          </ac:spMkLst>
        </pc:spChg>
      </pc:sldChg>
      <pc:sldChg chg="modSp mod">
        <pc:chgData name="Wolff, Constantin Aaron" userId="dddf5dec-b8d9-4157-833d-3fef5fd37ca5" providerId="ADAL" clId="{554FE398-CAFD-CD43-A5AB-0402D5E358B7}" dt="2023-04-29T15:27:09.675" v="54" actId="20577"/>
        <pc:sldMkLst>
          <pc:docMk/>
          <pc:sldMk cId="1168173183" sldId="323"/>
        </pc:sldMkLst>
        <pc:spChg chg="mod">
          <ac:chgData name="Wolff, Constantin Aaron" userId="dddf5dec-b8d9-4157-833d-3fef5fd37ca5" providerId="ADAL" clId="{554FE398-CAFD-CD43-A5AB-0402D5E358B7}" dt="2023-04-29T15:23:40.545" v="39" actId="20577"/>
          <ac:spMkLst>
            <pc:docMk/>
            <pc:sldMk cId="1168173183" sldId="323"/>
            <ac:spMk id="4" creationId="{24AA06F5-3910-9580-221C-92049A8B1486}"/>
          </ac:spMkLst>
        </pc:spChg>
        <pc:spChg chg="mod">
          <ac:chgData name="Wolff, Constantin Aaron" userId="dddf5dec-b8d9-4157-833d-3fef5fd37ca5" providerId="ADAL" clId="{554FE398-CAFD-CD43-A5AB-0402D5E358B7}" dt="2023-04-29T15:27:02.007" v="53" actId="1076"/>
          <ac:spMkLst>
            <pc:docMk/>
            <pc:sldMk cId="1168173183" sldId="323"/>
            <ac:spMk id="5" creationId="{F88186F2-0ACA-A907-0EC2-2A42ED75D503}"/>
          </ac:spMkLst>
        </pc:spChg>
        <pc:spChg chg="mod">
          <ac:chgData name="Wolff, Constantin Aaron" userId="dddf5dec-b8d9-4157-833d-3fef5fd37ca5" providerId="ADAL" clId="{554FE398-CAFD-CD43-A5AB-0402D5E358B7}" dt="2023-04-29T15:27:09.675" v="54" actId="20577"/>
          <ac:spMkLst>
            <pc:docMk/>
            <pc:sldMk cId="1168173183" sldId="323"/>
            <ac:spMk id="11" creationId="{056A66FA-0392-54A9-7CBF-8B01F93C7062}"/>
          </ac:spMkLst>
        </pc:spChg>
      </pc:sldChg>
      <pc:sldChg chg="addSp delSp modSp add mod">
        <pc:chgData name="Wolff, Constantin Aaron" userId="dddf5dec-b8d9-4157-833d-3fef5fd37ca5" providerId="ADAL" clId="{554FE398-CAFD-CD43-A5AB-0402D5E358B7}" dt="2023-04-29T16:15:36.933" v="902" actId="1076"/>
        <pc:sldMkLst>
          <pc:docMk/>
          <pc:sldMk cId="3761331886" sldId="333"/>
        </pc:sldMkLst>
        <pc:spChg chg="del">
          <ac:chgData name="Wolff, Constantin Aaron" userId="dddf5dec-b8d9-4157-833d-3fef5fd37ca5" providerId="ADAL" clId="{554FE398-CAFD-CD43-A5AB-0402D5E358B7}" dt="2023-04-29T16:14:51.973" v="868" actId="478"/>
          <ac:spMkLst>
            <pc:docMk/>
            <pc:sldMk cId="3761331886" sldId="333"/>
            <ac:spMk id="2" creationId="{29C966F7-F42D-F1D3-0390-A804F997CD30}"/>
          </ac:spMkLst>
        </pc:spChg>
        <pc:spChg chg="add mod">
          <ac:chgData name="Wolff, Constantin Aaron" userId="dddf5dec-b8d9-4157-833d-3fef5fd37ca5" providerId="ADAL" clId="{554FE398-CAFD-CD43-A5AB-0402D5E358B7}" dt="2023-04-29T16:14:52.257" v="869"/>
          <ac:spMkLst>
            <pc:docMk/>
            <pc:sldMk cId="3761331886" sldId="333"/>
            <ac:spMk id="3" creationId="{555F08DF-355D-44C6-36DB-ADE678353990}"/>
          </ac:spMkLst>
        </pc:spChg>
        <pc:spChg chg="del">
          <ac:chgData name="Wolff, Constantin Aaron" userId="dddf5dec-b8d9-4157-833d-3fef5fd37ca5" providerId="ADAL" clId="{554FE398-CAFD-CD43-A5AB-0402D5E358B7}" dt="2023-04-29T16:14:56.821" v="870" actId="478"/>
          <ac:spMkLst>
            <pc:docMk/>
            <pc:sldMk cId="3761331886" sldId="333"/>
            <ac:spMk id="7" creationId="{A2CF9E7C-F97B-9007-3352-44FD367BD6BF}"/>
          </ac:spMkLst>
        </pc:spChg>
        <pc:spChg chg="add del mod">
          <ac:chgData name="Wolff, Constantin Aaron" userId="dddf5dec-b8d9-4157-833d-3fef5fd37ca5" providerId="ADAL" clId="{554FE398-CAFD-CD43-A5AB-0402D5E358B7}" dt="2023-04-29T16:14:59.198" v="873" actId="478"/>
          <ac:spMkLst>
            <pc:docMk/>
            <pc:sldMk cId="3761331886" sldId="333"/>
            <ac:spMk id="8" creationId="{8A68D06E-C583-8AAD-9030-15E1A7D2A9CB}"/>
          </ac:spMkLst>
        </pc:spChg>
        <pc:spChg chg="add del mod">
          <ac:chgData name="Wolff, Constantin Aaron" userId="dddf5dec-b8d9-4157-833d-3fef5fd37ca5" providerId="ADAL" clId="{554FE398-CAFD-CD43-A5AB-0402D5E358B7}" dt="2023-04-29T16:14:58.195" v="872"/>
          <ac:spMkLst>
            <pc:docMk/>
            <pc:sldMk cId="3761331886" sldId="333"/>
            <ac:spMk id="9" creationId="{7FF5D401-77E9-06CB-DC0B-1D9E1C428C31}"/>
          </ac:spMkLst>
        </pc:spChg>
        <pc:spChg chg="add mod">
          <ac:chgData name="Wolff, Constantin Aaron" userId="dddf5dec-b8d9-4157-833d-3fef5fd37ca5" providerId="ADAL" clId="{554FE398-CAFD-CD43-A5AB-0402D5E358B7}" dt="2023-04-29T16:14:59.410" v="874"/>
          <ac:spMkLst>
            <pc:docMk/>
            <pc:sldMk cId="3761331886" sldId="333"/>
            <ac:spMk id="10" creationId="{32CF87E4-0EDB-6CF8-06F8-957FBABBC71A}"/>
          </ac:spMkLst>
        </pc:spChg>
        <pc:spChg chg="add mod">
          <ac:chgData name="Wolff, Constantin Aaron" userId="dddf5dec-b8d9-4157-833d-3fef5fd37ca5" providerId="ADAL" clId="{554FE398-CAFD-CD43-A5AB-0402D5E358B7}" dt="2023-04-29T16:15:02.769" v="875"/>
          <ac:spMkLst>
            <pc:docMk/>
            <pc:sldMk cId="3761331886" sldId="333"/>
            <ac:spMk id="15" creationId="{C012DFB2-F54B-740F-1E7C-82A71665BADE}"/>
          </ac:spMkLst>
        </pc:spChg>
        <pc:picChg chg="mod">
          <ac:chgData name="Wolff, Constantin Aaron" userId="dddf5dec-b8d9-4157-833d-3fef5fd37ca5" providerId="ADAL" clId="{554FE398-CAFD-CD43-A5AB-0402D5E358B7}" dt="2023-04-29T16:15:23.124" v="898" actId="1076"/>
          <ac:picMkLst>
            <pc:docMk/>
            <pc:sldMk cId="3761331886" sldId="333"/>
            <ac:picMk id="4" creationId="{00000000-0000-0000-0000-000000000000}"/>
          </ac:picMkLst>
        </pc:picChg>
        <pc:picChg chg="mod">
          <ac:chgData name="Wolff, Constantin Aaron" userId="dddf5dec-b8d9-4157-833d-3fef5fd37ca5" providerId="ADAL" clId="{554FE398-CAFD-CD43-A5AB-0402D5E358B7}" dt="2023-04-29T16:15:33.852" v="901" actId="1076"/>
          <ac:picMkLst>
            <pc:docMk/>
            <pc:sldMk cId="3761331886" sldId="333"/>
            <ac:picMk id="11" creationId="{00000000-0000-0000-0000-000000000000}"/>
          </ac:picMkLst>
        </pc:picChg>
        <pc:picChg chg="mod">
          <ac:chgData name="Wolff, Constantin Aaron" userId="dddf5dec-b8d9-4157-833d-3fef5fd37ca5" providerId="ADAL" clId="{554FE398-CAFD-CD43-A5AB-0402D5E358B7}" dt="2023-04-29T16:15:25.583" v="899" actId="1076"/>
          <ac:picMkLst>
            <pc:docMk/>
            <pc:sldMk cId="3761331886" sldId="333"/>
            <ac:picMk id="12" creationId="{00000000-0000-0000-0000-000000000000}"/>
          </ac:picMkLst>
        </pc:picChg>
        <pc:picChg chg="mod">
          <ac:chgData name="Wolff, Constantin Aaron" userId="dddf5dec-b8d9-4157-833d-3fef5fd37ca5" providerId="ADAL" clId="{554FE398-CAFD-CD43-A5AB-0402D5E358B7}" dt="2023-04-29T16:15:28.364" v="900" actId="1076"/>
          <ac:picMkLst>
            <pc:docMk/>
            <pc:sldMk cId="3761331886" sldId="333"/>
            <ac:picMk id="13" creationId="{00000000-0000-0000-0000-000000000000}"/>
          </ac:picMkLst>
        </pc:picChg>
        <pc:picChg chg="mod">
          <ac:chgData name="Wolff, Constantin Aaron" userId="dddf5dec-b8d9-4157-833d-3fef5fd37ca5" providerId="ADAL" clId="{554FE398-CAFD-CD43-A5AB-0402D5E358B7}" dt="2023-04-29T16:15:36.933" v="902" actId="1076"/>
          <ac:picMkLst>
            <pc:docMk/>
            <pc:sldMk cId="3761331886" sldId="333"/>
            <ac:picMk id="14" creationId="{00000000-0000-0000-0000-000000000000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11:38.079" v="820"/>
        <pc:sldMkLst>
          <pc:docMk/>
          <pc:sldMk cId="2796171784" sldId="350"/>
        </pc:sldMkLst>
        <pc:spChg chg="add mod">
          <ac:chgData name="Wolff, Constantin Aaron" userId="dddf5dec-b8d9-4157-833d-3fef5fd37ca5" providerId="ADAL" clId="{554FE398-CAFD-CD43-A5AB-0402D5E358B7}" dt="2023-04-29T16:11:38.079" v="820"/>
          <ac:spMkLst>
            <pc:docMk/>
            <pc:sldMk cId="2796171784" sldId="350"/>
            <ac:spMk id="2" creationId="{EA4BC400-6448-CF4E-6B94-C3F1CE812F1C}"/>
          </ac:spMkLst>
        </pc:spChg>
        <pc:spChg chg="mod">
          <ac:chgData name="Wolff, Constantin Aaron" userId="dddf5dec-b8d9-4157-833d-3fef5fd37ca5" providerId="ADAL" clId="{554FE398-CAFD-CD43-A5AB-0402D5E358B7}" dt="2023-04-29T15:29:59.757" v="131" actId="20577"/>
          <ac:spMkLst>
            <pc:docMk/>
            <pc:sldMk cId="2796171784" sldId="350"/>
            <ac:spMk id="7" creationId="{7C315CE0-2C53-2CDA-651F-6D125EABA8D3}"/>
          </ac:spMkLst>
        </pc:spChg>
        <pc:spChg chg="del">
          <ac:chgData name="Wolff, Constantin Aaron" userId="dddf5dec-b8d9-4157-833d-3fef5fd37ca5" providerId="ADAL" clId="{554FE398-CAFD-CD43-A5AB-0402D5E358B7}" dt="2023-04-29T16:11:37.836" v="819" actId="478"/>
          <ac:spMkLst>
            <pc:docMk/>
            <pc:sldMk cId="2796171784" sldId="350"/>
            <ac:spMk id="32" creationId="{778889AE-D5DD-CB3F-7D95-60941E345872}"/>
          </ac:spMkLst>
        </pc:spChg>
      </pc:sldChg>
      <pc:sldChg chg="addSp delSp modSp mod modAnim">
        <pc:chgData name="Wolff, Constantin Aaron" userId="dddf5dec-b8d9-4157-833d-3fef5fd37ca5" providerId="ADAL" clId="{554FE398-CAFD-CD43-A5AB-0402D5E358B7}" dt="2023-04-29T16:11:41.572" v="822"/>
        <pc:sldMkLst>
          <pc:docMk/>
          <pc:sldMk cId="1305849852" sldId="353"/>
        </pc:sldMkLst>
        <pc:spChg chg="del">
          <ac:chgData name="Wolff, Constantin Aaron" userId="dddf5dec-b8d9-4157-833d-3fef5fd37ca5" providerId="ADAL" clId="{554FE398-CAFD-CD43-A5AB-0402D5E358B7}" dt="2023-04-29T16:11:41.373" v="821" actId="478"/>
          <ac:spMkLst>
            <pc:docMk/>
            <pc:sldMk cId="1305849852" sldId="353"/>
            <ac:spMk id="10" creationId="{778889AE-D5DD-CB3F-7D95-60941E345872}"/>
          </ac:spMkLst>
        </pc:spChg>
        <pc:spChg chg="mod">
          <ac:chgData name="Wolff, Constantin Aaron" userId="dddf5dec-b8d9-4157-833d-3fef5fd37ca5" providerId="ADAL" clId="{554FE398-CAFD-CD43-A5AB-0402D5E358B7}" dt="2023-04-29T15:39:48.177" v="434" actId="207"/>
          <ac:spMkLst>
            <pc:docMk/>
            <pc:sldMk cId="1305849852" sldId="353"/>
            <ac:spMk id="11" creationId="{956BAA50-93EC-8361-FA80-15BE992946C9}"/>
          </ac:spMkLst>
        </pc:spChg>
        <pc:spChg chg="add mod">
          <ac:chgData name="Wolff, Constantin Aaron" userId="dddf5dec-b8d9-4157-833d-3fef5fd37ca5" providerId="ADAL" clId="{554FE398-CAFD-CD43-A5AB-0402D5E358B7}" dt="2023-04-29T16:11:41.572" v="822"/>
          <ac:spMkLst>
            <pc:docMk/>
            <pc:sldMk cId="1305849852" sldId="353"/>
            <ac:spMk id="18" creationId="{8D33ED57-BA4F-CC21-AE34-534AF16B3608}"/>
          </ac:spMkLst>
        </pc:spChg>
        <pc:spChg chg="add del">
          <ac:chgData name="Wolff, Constantin Aaron" userId="dddf5dec-b8d9-4157-833d-3fef5fd37ca5" providerId="ADAL" clId="{554FE398-CAFD-CD43-A5AB-0402D5E358B7}" dt="2023-04-29T15:35:34.627" v="199" actId="34122"/>
          <ac:spMkLst>
            <pc:docMk/>
            <pc:sldMk cId="1305849852" sldId="353"/>
            <ac:spMk id="22" creationId="{AFE2E7C9-6D82-416D-98D5-9650B473453F}"/>
          </ac:spMkLst>
        </pc:spChg>
        <pc:picChg chg="add del mod">
          <ac:chgData name="Wolff, Constantin Aaron" userId="dddf5dec-b8d9-4157-833d-3fef5fd37ca5" providerId="ADAL" clId="{554FE398-CAFD-CD43-A5AB-0402D5E358B7}" dt="2023-04-29T15:32:29.006" v="172" actId="478"/>
          <ac:picMkLst>
            <pc:docMk/>
            <pc:sldMk cId="1305849852" sldId="353"/>
            <ac:picMk id="2" creationId="{6E27C135-B46C-8821-2168-3DC2F42E4FA7}"/>
          </ac:picMkLst>
        </pc:picChg>
        <pc:picChg chg="del">
          <ac:chgData name="Wolff, Constantin Aaron" userId="dddf5dec-b8d9-4157-833d-3fef5fd37ca5" providerId="ADAL" clId="{554FE398-CAFD-CD43-A5AB-0402D5E358B7}" dt="2023-04-29T15:33:37.639" v="177" actId="478"/>
          <ac:picMkLst>
            <pc:docMk/>
            <pc:sldMk cId="1305849852" sldId="353"/>
            <ac:picMk id="92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5:33:39.324" v="178" actId="478"/>
          <ac:picMkLst>
            <pc:docMk/>
            <pc:sldMk cId="1305849852" sldId="353"/>
            <ac:picMk id="2050" creationId="{00000000-0000-0000-0000-000000000000}"/>
          </ac:picMkLst>
        </pc:picChg>
        <pc:inkChg chg="add del">
          <ac:chgData name="Wolff, Constantin Aaron" userId="dddf5dec-b8d9-4157-833d-3fef5fd37ca5" providerId="ADAL" clId="{554FE398-CAFD-CD43-A5AB-0402D5E358B7}" dt="2023-04-29T15:33:13.008" v="174" actId="9405"/>
          <ac:inkMkLst>
            <pc:docMk/>
            <pc:sldMk cId="1305849852" sldId="353"/>
            <ac:inkMk id="3" creationId="{6844C0F0-FF33-D6EA-CC7E-2C9802A8AF8E}"/>
          </ac:inkMkLst>
        </pc:inkChg>
        <pc:inkChg chg="add del">
          <ac:chgData name="Wolff, Constantin Aaron" userId="dddf5dec-b8d9-4157-833d-3fef5fd37ca5" providerId="ADAL" clId="{554FE398-CAFD-CD43-A5AB-0402D5E358B7}" dt="2023-04-29T15:33:27.751" v="176" actId="9405"/>
          <ac:inkMkLst>
            <pc:docMk/>
            <pc:sldMk cId="1305849852" sldId="353"/>
            <ac:inkMk id="4" creationId="{985B78D0-28DE-4515-5915-5CD894B9C8ED}"/>
          </ac:inkMkLst>
        </pc:inkChg>
        <pc:inkChg chg="add del">
          <ac:chgData name="Wolff, Constantin Aaron" userId="dddf5dec-b8d9-4157-833d-3fef5fd37ca5" providerId="ADAL" clId="{554FE398-CAFD-CD43-A5AB-0402D5E358B7}" dt="2023-04-29T15:33:45.880" v="180" actId="9405"/>
          <ac:inkMkLst>
            <pc:docMk/>
            <pc:sldMk cId="1305849852" sldId="353"/>
            <ac:inkMk id="5" creationId="{20D537C2-F996-C9A2-9730-9C74E1EDADAB}"/>
          </ac:inkMkLst>
        </pc:inkChg>
        <pc:inkChg chg="add del">
          <ac:chgData name="Wolff, Constantin Aaron" userId="dddf5dec-b8d9-4157-833d-3fef5fd37ca5" providerId="ADAL" clId="{554FE398-CAFD-CD43-A5AB-0402D5E358B7}" dt="2023-04-29T15:33:48.823" v="182" actId="9405"/>
          <ac:inkMkLst>
            <pc:docMk/>
            <pc:sldMk cId="1305849852" sldId="353"/>
            <ac:inkMk id="7" creationId="{778F8DE0-8003-5365-811B-BDFCE737DD51}"/>
          </ac:inkMkLst>
        </pc:inkChg>
        <pc:inkChg chg="add del">
          <ac:chgData name="Wolff, Constantin Aaron" userId="dddf5dec-b8d9-4157-833d-3fef5fd37ca5" providerId="ADAL" clId="{554FE398-CAFD-CD43-A5AB-0402D5E358B7}" dt="2023-04-29T15:34:04.327" v="184" actId="9405"/>
          <ac:inkMkLst>
            <pc:docMk/>
            <pc:sldMk cId="1305849852" sldId="353"/>
            <ac:inkMk id="8" creationId="{65836FEA-07A2-5CAB-7338-6A0FFCC169EE}"/>
          </ac:inkMkLst>
        </pc:inkChg>
        <pc:inkChg chg="add del mod">
          <ac:chgData name="Wolff, Constantin Aaron" userId="dddf5dec-b8d9-4157-833d-3fef5fd37ca5" providerId="ADAL" clId="{554FE398-CAFD-CD43-A5AB-0402D5E358B7}" dt="2023-04-29T15:35:34.627" v="199" actId="34122"/>
          <ac:inkMkLst>
            <pc:docMk/>
            <pc:sldMk cId="1305849852" sldId="353"/>
            <ac:inkMk id="9" creationId="{828C060C-5CE4-E3E1-6161-09C1A49A3F74}"/>
          </ac:inkMkLst>
        </pc:inkChg>
        <pc:inkChg chg="add del mod">
          <ac:chgData name="Wolff, Constantin Aaron" userId="dddf5dec-b8d9-4157-833d-3fef5fd37ca5" providerId="ADAL" clId="{554FE398-CAFD-CD43-A5AB-0402D5E358B7}" dt="2023-04-29T15:34:27.915" v="191" actId="478"/>
          <ac:inkMkLst>
            <pc:docMk/>
            <pc:sldMk cId="1305849852" sldId="353"/>
            <ac:inkMk id="12" creationId="{363A777E-18EE-7F30-303F-596A59404266}"/>
          </ac:inkMkLst>
        </pc:inkChg>
        <pc:inkChg chg="add mod">
          <ac:chgData name="Wolff, Constantin Aaron" userId="dddf5dec-b8d9-4157-833d-3fef5fd37ca5" providerId="ADAL" clId="{554FE398-CAFD-CD43-A5AB-0402D5E358B7}" dt="2023-04-29T15:34:47.988" v="195" actId="1076"/>
          <ac:inkMkLst>
            <pc:docMk/>
            <pc:sldMk cId="1305849852" sldId="353"/>
            <ac:inkMk id="13" creationId="{0961AEEE-2C88-52B3-DF7D-41AA2849F121}"/>
          </ac:inkMkLst>
        </pc:inkChg>
        <pc:inkChg chg="add">
          <ac:chgData name="Wolff, Constantin Aaron" userId="dddf5dec-b8d9-4157-833d-3fef5fd37ca5" providerId="ADAL" clId="{554FE398-CAFD-CD43-A5AB-0402D5E358B7}" dt="2023-04-29T15:35:02.205" v="196" actId="9405"/>
          <ac:inkMkLst>
            <pc:docMk/>
            <pc:sldMk cId="1305849852" sldId="353"/>
            <ac:inkMk id="14" creationId="{B35AFA4F-34F8-3A91-3BE9-606BA28F02D7}"/>
          </ac:inkMkLst>
        </pc:inkChg>
        <pc:inkChg chg="add">
          <ac:chgData name="Wolff, Constantin Aaron" userId="dddf5dec-b8d9-4157-833d-3fef5fd37ca5" providerId="ADAL" clId="{554FE398-CAFD-CD43-A5AB-0402D5E358B7}" dt="2023-04-29T15:35:09.176" v="197" actId="9405"/>
          <ac:inkMkLst>
            <pc:docMk/>
            <pc:sldMk cId="1305849852" sldId="353"/>
            <ac:inkMk id="17" creationId="{E7AEB570-9C2D-4910-15D0-430F3BF693A2}"/>
          </ac:inkMkLst>
        </pc:inkChg>
      </pc:sldChg>
      <pc:sldChg chg="addSp delSp modSp mod">
        <pc:chgData name="Wolff, Constantin Aaron" userId="dddf5dec-b8d9-4157-833d-3fef5fd37ca5" providerId="ADAL" clId="{554FE398-CAFD-CD43-A5AB-0402D5E358B7}" dt="2023-04-29T16:11:46.159" v="824"/>
        <pc:sldMkLst>
          <pc:docMk/>
          <pc:sldMk cId="3881669766" sldId="362"/>
        </pc:sldMkLst>
        <pc:spChg chg="add mod">
          <ac:chgData name="Wolff, Constantin Aaron" userId="dddf5dec-b8d9-4157-833d-3fef5fd37ca5" providerId="ADAL" clId="{554FE398-CAFD-CD43-A5AB-0402D5E358B7}" dt="2023-04-29T16:11:46.159" v="824"/>
          <ac:spMkLst>
            <pc:docMk/>
            <pc:sldMk cId="3881669766" sldId="362"/>
            <ac:spMk id="2" creationId="{53E21402-6FF3-22C5-16D8-AE78223C1ECF}"/>
          </ac:spMkLst>
        </pc:spChg>
        <pc:spChg chg="del">
          <ac:chgData name="Wolff, Constantin Aaron" userId="dddf5dec-b8d9-4157-833d-3fef5fd37ca5" providerId="ADAL" clId="{554FE398-CAFD-CD43-A5AB-0402D5E358B7}" dt="2023-04-29T16:11:45.884" v="823" actId="478"/>
          <ac:spMkLst>
            <pc:docMk/>
            <pc:sldMk cId="3881669766" sldId="362"/>
            <ac:spMk id="17" creationId="{778889AE-D5DD-CB3F-7D95-60941E345872}"/>
          </ac:spMkLst>
        </pc:spChg>
      </pc:sldChg>
      <pc:sldChg chg="addSp delSp modSp mod">
        <pc:chgData name="Wolff, Constantin Aaron" userId="dddf5dec-b8d9-4157-833d-3fef5fd37ca5" providerId="ADAL" clId="{554FE398-CAFD-CD43-A5AB-0402D5E358B7}" dt="2023-04-29T16:12:15.646" v="832"/>
        <pc:sldMkLst>
          <pc:docMk/>
          <pc:sldMk cId="3557354481" sldId="363"/>
        </pc:sldMkLst>
        <pc:spChg chg="add mod">
          <ac:chgData name="Wolff, Constantin Aaron" userId="dddf5dec-b8d9-4157-833d-3fef5fd37ca5" providerId="ADAL" clId="{554FE398-CAFD-CD43-A5AB-0402D5E358B7}" dt="2023-04-29T16:12:15.646" v="832"/>
          <ac:spMkLst>
            <pc:docMk/>
            <pc:sldMk cId="3557354481" sldId="363"/>
            <ac:spMk id="4" creationId="{B7FC4A83-05BE-299B-F3D1-B58C2A82278B}"/>
          </ac:spMkLst>
        </pc:spChg>
        <pc:spChg chg="del">
          <ac:chgData name="Wolff, Constantin Aaron" userId="dddf5dec-b8d9-4157-833d-3fef5fd37ca5" providerId="ADAL" clId="{554FE398-CAFD-CD43-A5AB-0402D5E358B7}" dt="2023-04-29T16:12:15.438" v="831" actId="478"/>
          <ac:spMkLst>
            <pc:docMk/>
            <pc:sldMk cId="3557354481" sldId="363"/>
            <ac:spMk id="9" creationId="{778889AE-D5DD-CB3F-7D95-60941E345872}"/>
          </ac:spMkLst>
        </pc:spChg>
        <pc:spChg chg="mod">
          <ac:chgData name="Wolff, Constantin Aaron" userId="dddf5dec-b8d9-4157-833d-3fef5fd37ca5" providerId="ADAL" clId="{554FE398-CAFD-CD43-A5AB-0402D5E358B7}" dt="2023-04-29T15:46:07.690" v="482" actId="20577"/>
          <ac:spMkLst>
            <pc:docMk/>
            <pc:sldMk cId="3557354481" sldId="363"/>
            <ac:spMk id="15" creationId="{7C315CE0-2C53-2CDA-651F-6D125EABA8D3}"/>
          </ac:spMkLst>
        </pc:spChg>
        <pc:picChg chg="add mod modCrop">
          <ac:chgData name="Wolff, Constantin Aaron" userId="dddf5dec-b8d9-4157-833d-3fef5fd37ca5" providerId="ADAL" clId="{554FE398-CAFD-CD43-A5AB-0402D5E358B7}" dt="2023-04-29T15:45:31.654" v="468" actId="1076"/>
          <ac:picMkLst>
            <pc:docMk/>
            <pc:sldMk cId="3557354481" sldId="363"/>
            <ac:picMk id="2" creationId="{62FF641A-AA2D-CF28-CE85-FD477371A3AE}"/>
          </ac:picMkLst>
        </pc:picChg>
        <pc:picChg chg="del">
          <ac:chgData name="Wolff, Constantin Aaron" userId="dddf5dec-b8d9-4157-833d-3fef5fd37ca5" providerId="ADAL" clId="{554FE398-CAFD-CD43-A5AB-0402D5E358B7}" dt="2023-04-29T15:43:49.978" v="458" actId="478"/>
          <ac:picMkLst>
            <pc:docMk/>
            <pc:sldMk cId="3557354481" sldId="363"/>
            <ac:picMk id="3" creationId="{00000000-0000-0000-0000-000000000000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11:52.865" v="828"/>
        <pc:sldMkLst>
          <pc:docMk/>
          <pc:sldMk cId="734513830" sldId="376"/>
        </pc:sldMkLst>
        <pc:spChg chg="add mod">
          <ac:chgData name="Wolff, Constantin Aaron" userId="dddf5dec-b8d9-4157-833d-3fef5fd37ca5" providerId="ADAL" clId="{554FE398-CAFD-CD43-A5AB-0402D5E358B7}" dt="2023-04-29T16:11:52.865" v="828"/>
          <ac:spMkLst>
            <pc:docMk/>
            <pc:sldMk cId="734513830" sldId="376"/>
            <ac:spMk id="2" creationId="{A491BF6C-FF44-F724-6A2C-04A5706769F6}"/>
          </ac:spMkLst>
        </pc:spChg>
        <pc:spChg chg="mod">
          <ac:chgData name="Wolff, Constantin Aaron" userId="dddf5dec-b8d9-4157-833d-3fef5fd37ca5" providerId="ADAL" clId="{554FE398-CAFD-CD43-A5AB-0402D5E358B7}" dt="2023-04-29T15:41:58.509" v="457" actId="113"/>
          <ac:spMkLst>
            <pc:docMk/>
            <pc:sldMk cId="734513830" sldId="376"/>
            <ac:spMk id="7" creationId="{7C315CE0-2C53-2CDA-651F-6D125EABA8D3}"/>
          </ac:spMkLst>
        </pc:spChg>
        <pc:spChg chg="del">
          <ac:chgData name="Wolff, Constantin Aaron" userId="dddf5dec-b8d9-4157-833d-3fef5fd37ca5" providerId="ADAL" clId="{554FE398-CAFD-CD43-A5AB-0402D5E358B7}" dt="2023-04-29T16:11:52.611" v="827" actId="478"/>
          <ac:spMkLst>
            <pc:docMk/>
            <pc:sldMk cId="734513830" sldId="376"/>
            <ac:spMk id="32" creationId="{778889AE-D5DD-CB3F-7D95-60941E345872}"/>
          </ac:spMkLst>
        </pc:spChg>
      </pc:sldChg>
      <pc:sldChg chg="addSp delSp modSp mod">
        <pc:chgData name="Wolff, Constantin Aaron" userId="dddf5dec-b8d9-4157-833d-3fef5fd37ca5" providerId="ADAL" clId="{554FE398-CAFD-CD43-A5AB-0402D5E358B7}" dt="2023-04-29T16:13:29.751" v="857"/>
        <pc:sldMkLst>
          <pc:docMk/>
          <pc:sldMk cId="2678957457" sldId="377"/>
        </pc:sldMkLst>
        <pc:spChg chg="add mod">
          <ac:chgData name="Wolff, Constantin Aaron" userId="dddf5dec-b8d9-4157-833d-3fef5fd37ca5" providerId="ADAL" clId="{554FE398-CAFD-CD43-A5AB-0402D5E358B7}" dt="2023-04-29T16:12:22.026" v="834"/>
          <ac:spMkLst>
            <pc:docMk/>
            <pc:sldMk cId="2678957457" sldId="377"/>
            <ac:spMk id="3" creationId="{3FCC1265-F8AA-7525-6469-8EA60B287F52}"/>
          </ac:spMkLst>
        </pc:spChg>
        <pc:spChg chg="mod">
          <ac:chgData name="Wolff, Constantin Aaron" userId="dddf5dec-b8d9-4157-833d-3fef5fd37ca5" providerId="ADAL" clId="{554FE398-CAFD-CD43-A5AB-0402D5E358B7}" dt="2023-04-29T16:13:29.751" v="857"/>
          <ac:spMkLst>
            <pc:docMk/>
            <pc:sldMk cId="2678957457" sldId="377"/>
            <ac:spMk id="15" creationId="{7C315CE0-2C53-2CDA-651F-6D125EABA8D3}"/>
          </ac:spMkLst>
        </pc:spChg>
        <pc:spChg chg="del">
          <ac:chgData name="Wolff, Constantin Aaron" userId="dddf5dec-b8d9-4157-833d-3fef5fd37ca5" providerId="ADAL" clId="{554FE398-CAFD-CD43-A5AB-0402D5E358B7}" dt="2023-04-29T16:12:21.793" v="833" actId="478"/>
          <ac:spMkLst>
            <pc:docMk/>
            <pc:sldMk cId="2678957457" sldId="377"/>
            <ac:spMk id="32" creationId="{778889AE-D5DD-CB3F-7D95-60941E345872}"/>
          </ac:spMkLst>
        </pc:spChg>
      </pc:sldChg>
      <pc:sldChg chg="addSp delSp modSp mod">
        <pc:chgData name="Wolff, Constantin Aaron" userId="dddf5dec-b8d9-4157-833d-3fef5fd37ca5" providerId="ADAL" clId="{554FE398-CAFD-CD43-A5AB-0402D5E358B7}" dt="2023-04-29T17:01:11.999" v="1423" actId="20577"/>
        <pc:sldMkLst>
          <pc:docMk/>
          <pc:sldMk cId="4189292104" sldId="379"/>
        </pc:sldMkLst>
        <pc:spChg chg="add mod">
          <ac:chgData name="Wolff, Constantin Aaron" userId="dddf5dec-b8d9-4157-833d-3fef5fd37ca5" providerId="ADAL" clId="{554FE398-CAFD-CD43-A5AB-0402D5E358B7}" dt="2023-04-29T16:18:43.341" v="1004"/>
          <ac:spMkLst>
            <pc:docMk/>
            <pc:sldMk cId="4189292104" sldId="379"/>
            <ac:spMk id="5" creationId="{2BE599D2-04B8-4010-0FFF-87C226FEB39B}"/>
          </ac:spMkLst>
        </pc:spChg>
        <pc:spChg chg="mod">
          <ac:chgData name="Wolff, Constantin Aaron" userId="dddf5dec-b8d9-4157-833d-3fef5fd37ca5" providerId="ADAL" clId="{554FE398-CAFD-CD43-A5AB-0402D5E358B7}" dt="2023-04-29T17:01:11.999" v="1423" actId="20577"/>
          <ac:spMkLst>
            <pc:docMk/>
            <pc:sldMk cId="4189292104" sldId="379"/>
            <ac:spMk id="7" creationId="{7C315CE0-2C53-2CDA-651F-6D125EABA8D3}"/>
          </ac:spMkLst>
        </pc:spChg>
        <pc:spChg chg="del">
          <ac:chgData name="Wolff, Constantin Aaron" userId="dddf5dec-b8d9-4157-833d-3fef5fd37ca5" providerId="ADAL" clId="{554FE398-CAFD-CD43-A5AB-0402D5E358B7}" dt="2023-04-29T16:18:43.187" v="1003" actId="478"/>
          <ac:spMkLst>
            <pc:docMk/>
            <pc:sldMk cId="4189292104" sldId="379"/>
            <ac:spMk id="32" creationId="{778889AE-D5DD-CB3F-7D95-60941E345872}"/>
          </ac:spMkLst>
        </pc:spChg>
      </pc:sldChg>
      <pc:sldChg chg="addSp delSp modSp mod">
        <pc:chgData name="Wolff, Constantin Aaron" userId="dddf5dec-b8d9-4157-833d-3fef5fd37ca5" providerId="ADAL" clId="{554FE398-CAFD-CD43-A5AB-0402D5E358B7}" dt="2023-04-29T16:18:00.362" v="984" actId="20577"/>
        <pc:sldMkLst>
          <pc:docMk/>
          <pc:sldMk cId="1029458511" sldId="380"/>
        </pc:sldMkLst>
        <pc:spChg chg="del">
          <ac:chgData name="Wolff, Constantin Aaron" userId="dddf5dec-b8d9-4157-833d-3fef5fd37ca5" providerId="ADAL" clId="{554FE398-CAFD-CD43-A5AB-0402D5E358B7}" dt="2023-04-29T16:13:15.545" v="852" actId="478"/>
          <ac:spMkLst>
            <pc:docMk/>
            <pc:sldMk cId="1029458511" sldId="380"/>
            <ac:spMk id="7" creationId="{7C315CE0-2C53-2CDA-651F-6D125EABA8D3}"/>
          </ac:spMkLst>
        </pc:spChg>
        <pc:spChg chg="add del mod">
          <ac:chgData name="Wolff, Constantin Aaron" userId="dddf5dec-b8d9-4157-833d-3fef5fd37ca5" providerId="ADAL" clId="{554FE398-CAFD-CD43-A5AB-0402D5E358B7}" dt="2023-04-29T16:13:19.804" v="855" actId="478"/>
          <ac:spMkLst>
            <pc:docMk/>
            <pc:sldMk cId="1029458511" sldId="380"/>
            <ac:spMk id="9" creationId="{EAB0828C-1A34-8E60-CA97-6B263895C2AC}"/>
          </ac:spMkLst>
        </pc:spChg>
        <pc:spChg chg="add del mod">
          <ac:chgData name="Wolff, Constantin Aaron" userId="dddf5dec-b8d9-4157-833d-3fef5fd37ca5" providerId="ADAL" clId="{554FE398-CAFD-CD43-A5AB-0402D5E358B7}" dt="2023-04-29T16:13:17.111" v="854"/>
          <ac:spMkLst>
            <pc:docMk/>
            <pc:sldMk cId="1029458511" sldId="380"/>
            <ac:spMk id="13" creationId="{9C189CC4-B79E-31BF-E478-39352C25D760}"/>
          </ac:spMkLst>
        </pc:spChg>
        <pc:spChg chg="add mod">
          <ac:chgData name="Wolff, Constantin Aaron" userId="dddf5dec-b8d9-4157-833d-3fef5fd37ca5" providerId="ADAL" clId="{554FE398-CAFD-CD43-A5AB-0402D5E358B7}" dt="2023-04-29T16:18:00.362" v="984" actId="20577"/>
          <ac:spMkLst>
            <pc:docMk/>
            <pc:sldMk cId="1029458511" sldId="380"/>
            <ac:spMk id="14" creationId="{B5EC9B4B-81EA-013F-3B02-E7E22899251F}"/>
          </ac:spMkLst>
        </pc:spChg>
        <pc:spChg chg="add mod">
          <ac:chgData name="Wolff, Constantin Aaron" userId="dddf5dec-b8d9-4157-833d-3fef5fd37ca5" providerId="ADAL" clId="{554FE398-CAFD-CD43-A5AB-0402D5E358B7}" dt="2023-04-29T16:13:43.231" v="859"/>
          <ac:spMkLst>
            <pc:docMk/>
            <pc:sldMk cId="1029458511" sldId="380"/>
            <ac:spMk id="15" creationId="{DF417F43-727B-C248-538A-D0B50792EA0E}"/>
          </ac:spMkLst>
        </pc:spChg>
        <pc:spChg chg="del">
          <ac:chgData name="Wolff, Constantin Aaron" userId="dddf5dec-b8d9-4157-833d-3fef5fd37ca5" providerId="ADAL" clId="{554FE398-CAFD-CD43-A5AB-0402D5E358B7}" dt="2023-04-29T16:13:43.013" v="858" actId="478"/>
          <ac:spMkLst>
            <pc:docMk/>
            <pc:sldMk cId="1029458511" sldId="380"/>
            <ac:spMk id="32" creationId="{778889AE-D5DD-CB3F-7D95-60941E345872}"/>
          </ac:spMkLst>
        </pc:spChg>
      </pc:sldChg>
      <pc:sldChg chg="addSp delSp modSp del mod">
        <pc:chgData name="Wolff, Constantin Aaron" userId="dddf5dec-b8d9-4157-833d-3fef5fd37ca5" providerId="ADAL" clId="{554FE398-CAFD-CD43-A5AB-0402D5E358B7}" dt="2023-04-29T16:15:12.113" v="876" actId="2696"/>
        <pc:sldMkLst>
          <pc:docMk/>
          <pc:sldMk cId="4100126570" sldId="381"/>
        </pc:sldMkLst>
        <pc:spChg chg="add mod">
          <ac:chgData name="Wolff, Constantin Aaron" userId="dddf5dec-b8d9-4157-833d-3fef5fd37ca5" providerId="ADAL" clId="{554FE398-CAFD-CD43-A5AB-0402D5E358B7}" dt="2023-04-29T16:13:46.965" v="861"/>
          <ac:spMkLst>
            <pc:docMk/>
            <pc:sldMk cId="4100126570" sldId="381"/>
            <ac:spMk id="2" creationId="{4D059997-7F60-ADFB-2C82-5EDA6E0B4E0A}"/>
          </ac:spMkLst>
        </pc:spChg>
        <pc:spChg chg="mod">
          <ac:chgData name="Wolff, Constantin Aaron" userId="dddf5dec-b8d9-4157-833d-3fef5fd37ca5" providerId="ADAL" clId="{554FE398-CAFD-CD43-A5AB-0402D5E358B7}" dt="2023-04-29T16:13:59.063" v="866" actId="1038"/>
          <ac:spMkLst>
            <pc:docMk/>
            <pc:sldMk cId="4100126570" sldId="381"/>
            <ac:spMk id="7" creationId="{A2CF9E7C-F97B-9007-3352-44FD367BD6BF}"/>
          </ac:spMkLst>
        </pc:spChg>
        <pc:spChg chg="del">
          <ac:chgData name="Wolff, Constantin Aaron" userId="dddf5dec-b8d9-4157-833d-3fef5fd37ca5" providerId="ADAL" clId="{554FE398-CAFD-CD43-A5AB-0402D5E358B7}" dt="2023-04-29T16:13:46.710" v="860" actId="478"/>
          <ac:spMkLst>
            <pc:docMk/>
            <pc:sldMk cId="4100126570" sldId="381"/>
            <ac:spMk id="11" creationId="{778889AE-D5DD-CB3F-7D95-60941E345872}"/>
          </ac:spMkLst>
        </pc:spChg>
      </pc:sldChg>
      <pc:sldChg chg="addSp delSp modSp mod delAnim">
        <pc:chgData name="Wolff, Constantin Aaron" userId="dddf5dec-b8d9-4157-833d-3fef5fd37ca5" providerId="ADAL" clId="{554FE398-CAFD-CD43-A5AB-0402D5E358B7}" dt="2023-04-29T16:21:12.820" v="1030" actId="478"/>
        <pc:sldMkLst>
          <pc:docMk/>
          <pc:sldMk cId="2195919794" sldId="382"/>
        </pc:sldMkLst>
        <pc:spChg chg="add mod">
          <ac:chgData name="Wolff, Constantin Aaron" userId="dddf5dec-b8d9-4157-833d-3fef5fd37ca5" providerId="ADAL" clId="{554FE398-CAFD-CD43-A5AB-0402D5E358B7}" dt="2023-04-29T16:18:13.341" v="986"/>
          <ac:spMkLst>
            <pc:docMk/>
            <pc:sldMk cId="2195919794" sldId="382"/>
            <ac:spMk id="2" creationId="{44723065-27E0-DB5F-31B6-41B4BEFFD98E}"/>
          </ac:spMkLst>
        </pc:spChg>
        <pc:spChg chg="del">
          <ac:chgData name="Wolff, Constantin Aaron" userId="dddf5dec-b8d9-4157-833d-3fef5fd37ca5" providerId="ADAL" clId="{554FE398-CAFD-CD43-A5AB-0402D5E358B7}" dt="2023-04-29T16:18:13.178" v="985" actId="478"/>
          <ac:spMkLst>
            <pc:docMk/>
            <pc:sldMk cId="2195919794" sldId="382"/>
            <ac:spMk id="11" creationId="{778889AE-D5DD-CB3F-7D95-60941E345872}"/>
          </ac:spMkLst>
        </pc:spChg>
        <pc:picChg chg="add mod">
          <ac:chgData name="Wolff, Constantin Aaron" userId="dddf5dec-b8d9-4157-833d-3fef5fd37ca5" providerId="ADAL" clId="{554FE398-CAFD-CD43-A5AB-0402D5E358B7}" dt="2023-04-29T16:19:15.897" v="1011" actId="1076"/>
          <ac:picMkLst>
            <pc:docMk/>
            <pc:sldMk cId="2195919794" sldId="382"/>
            <ac:picMk id="3" creationId="{60E6505F-33E6-33BA-1F71-33B2FA1A8811}"/>
          </ac:picMkLst>
        </pc:picChg>
        <pc:picChg chg="add del mod">
          <ac:chgData name="Wolff, Constantin Aaron" userId="dddf5dec-b8d9-4157-833d-3fef5fd37ca5" providerId="ADAL" clId="{554FE398-CAFD-CD43-A5AB-0402D5E358B7}" dt="2023-04-29T16:21:01.924" v="1027" actId="478"/>
          <ac:picMkLst>
            <pc:docMk/>
            <pc:sldMk cId="2195919794" sldId="382"/>
            <ac:picMk id="4" creationId="{A08DBD92-EADE-D809-952C-F9C7B5F665CB}"/>
          </ac:picMkLst>
        </pc:picChg>
        <pc:picChg chg="add mod">
          <ac:chgData name="Wolff, Constantin Aaron" userId="dddf5dec-b8d9-4157-833d-3fef5fd37ca5" providerId="ADAL" clId="{554FE398-CAFD-CD43-A5AB-0402D5E358B7}" dt="2023-04-29T16:19:55.257" v="1019" actId="1076"/>
          <ac:picMkLst>
            <pc:docMk/>
            <pc:sldMk cId="2195919794" sldId="382"/>
            <ac:picMk id="6" creationId="{ABBF2D6E-DFDF-473B-B073-E00450A23F99}"/>
          </ac:picMkLst>
        </pc:picChg>
        <pc:picChg chg="add mod">
          <ac:chgData name="Wolff, Constantin Aaron" userId="dddf5dec-b8d9-4157-833d-3fef5fd37ca5" providerId="ADAL" clId="{554FE398-CAFD-CD43-A5AB-0402D5E358B7}" dt="2023-04-29T16:20:14.459" v="1026" actId="1076"/>
          <ac:picMkLst>
            <pc:docMk/>
            <pc:sldMk cId="2195919794" sldId="382"/>
            <ac:picMk id="8" creationId="{5A08EECE-FF01-7BFC-6171-5AAE5EC0B3F1}"/>
          </ac:picMkLst>
        </pc:picChg>
        <pc:picChg chg="add del mod">
          <ac:chgData name="Wolff, Constantin Aaron" userId="dddf5dec-b8d9-4157-833d-3fef5fd37ca5" providerId="ADAL" clId="{554FE398-CAFD-CD43-A5AB-0402D5E358B7}" dt="2023-04-29T16:21:12.820" v="1030" actId="478"/>
          <ac:picMkLst>
            <pc:docMk/>
            <pc:sldMk cId="2195919794" sldId="382"/>
            <ac:picMk id="9" creationId="{BEFA6613-D8E4-BCF1-0BE7-0D87B2322BE3}"/>
          </ac:picMkLst>
        </pc:picChg>
        <pc:picChg chg="del">
          <ac:chgData name="Wolff, Constantin Aaron" userId="dddf5dec-b8d9-4157-833d-3fef5fd37ca5" providerId="ADAL" clId="{554FE398-CAFD-CD43-A5AB-0402D5E358B7}" dt="2023-04-29T16:19:44.161" v="1015" actId="478"/>
          <ac:picMkLst>
            <pc:docMk/>
            <pc:sldMk cId="2195919794" sldId="382"/>
            <ac:picMk id="12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19:59.980" v="1020" actId="478"/>
          <ac:picMkLst>
            <pc:docMk/>
            <pc:sldMk cId="2195919794" sldId="382"/>
            <ac:picMk id="14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19:11.013" v="1009" actId="478"/>
          <ac:picMkLst>
            <pc:docMk/>
            <pc:sldMk cId="2195919794" sldId="382"/>
            <ac:picMk id="15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19:37.755" v="1014" actId="478"/>
          <ac:picMkLst>
            <pc:docMk/>
            <pc:sldMk cId="2195919794" sldId="382"/>
            <ac:picMk id="17" creationId="{00000000-0000-0000-0000-000000000000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23:00.571" v="1047" actId="1076"/>
        <pc:sldMkLst>
          <pc:docMk/>
          <pc:sldMk cId="3362995160" sldId="383"/>
        </pc:sldMkLst>
        <pc:spChg chg="add mod">
          <ac:chgData name="Wolff, Constantin Aaron" userId="dddf5dec-b8d9-4157-833d-3fef5fd37ca5" providerId="ADAL" clId="{554FE398-CAFD-CD43-A5AB-0402D5E358B7}" dt="2023-04-29T16:18:15.864" v="988"/>
          <ac:spMkLst>
            <pc:docMk/>
            <pc:sldMk cId="3362995160" sldId="383"/>
            <ac:spMk id="3" creationId="{18CB84C8-5AC7-6C89-7159-B59A6ECC4908}"/>
          </ac:spMkLst>
        </pc:spChg>
        <pc:spChg chg="del">
          <ac:chgData name="Wolff, Constantin Aaron" userId="dddf5dec-b8d9-4157-833d-3fef5fd37ca5" providerId="ADAL" clId="{554FE398-CAFD-CD43-A5AB-0402D5E358B7}" dt="2023-04-29T16:18:15.679" v="987" actId="478"/>
          <ac:spMkLst>
            <pc:docMk/>
            <pc:sldMk cId="3362995160" sldId="383"/>
            <ac:spMk id="11" creationId="{778889AE-D5DD-CB3F-7D95-60941E345872}"/>
          </ac:spMkLst>
        </pc:spChg>
        <pc:picChg chg="del">
          <ac:chgData name="Wolff, Constantin Aaron" userId="dddf5dec-b8d9-4157-833d-3fef5fd37ca5" providerId="ADAL" clId="{554FE398-CAFD-CD43-A5AB-0402D5E358B7}" dt="2023-04-29T16:21:51.120" v="1036" actId="478"/>
          <ac:picMkLst>
            <pc:docMk/>
            <pc:sldMk cId="3362995160" sldId="383"/>
            <ac:picMk id="2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21:57.995" v="1039" actId="1076"/>
          <ac:picMkLst>
            <pc:docMk/>
            <pc:sldMk cId="3362995160" sldId="383"/>
            <ac:picMk id="4" creationId="{D8CDE0F2-152A-4933-A187-BAED159EE352}"/>
          </ac:picMkLst>
        </pc:picChg>
        <pc:picChg chg="add mod modCrop">
          <ac:chgData name="Wolff, Constantin Aaron" userId="dddf5dec-b8d9-4157-833d-3fef5fd37ca5" providerId="ADAL" clId="{554FE398-CAFD-CD43-A5AB-0402D5E358B7}" dt="2023-04-29T16:23:00.571" v="1047" actId="1076"/>
          <ac:picMkLst>
            <pc:docMk/>
            <pc:sldMk cId="3362995160" sldId="383"/>
            <ac:picMk id="6" creationId="{F4FDB39A-3738-03C9-C2B8-1F5CA3CC5A47}"/>
          </ac:picMkLst>
        </pc:picChg>
        <pc:picChg chg="del">
          <ac:chgData name="Wolff, Constantin Aaron" userId="dddf5dec-b8d9-4157-833d-3fef5fd37ca5" providerId="ADAL" clId="{554FE398-CAFD-CD43-A5AB-0402D5E358B7}" dt="2023-04-29T16:22:07.467" v="1040" actId="478"/>
          <ac:picMkLst>
            <pc:docMk/>
            <pc:sldMk cId="3362995160" sldId="383"/>
            <ac:picMk id="16" creationId="{00000000-0000-0000-0000-000000000000}"/>
          </ac:picMkLst>
        </pc:picChg>
      </pc:sldChg>
      <pc:sldChg chg="addSp delSp modSp mod delAnim">
        <pc:chgData name="Wolff, Constantin Aaron" userId="dddf5dec-b8d9-4157-833d-3fef5fd37ca5" providerId="ADAL" clId="{554FE398-CAFD-CD43-A5AB-0402D5E358B7}" dt="2023-04-29T16:39:58.243" v="1185" actId="1076"/>
        <pc:sldMkLst>
          <pc:docMk/>
          <pc:sldMk cId="2573630913" sldId="384"/>
        </pc:sldMkLst>
        <pc:spChg chg="add mod">
          <ac:chgData name="Wolff, Constantin Aaron" userId="dddf5dec-b8d9-4157-833d-3fef5fd37ca5" providerId="ADAL" clId="{554FE398-CAFD-CD43-A5AB-0402D5E358B7}" dt="2023-04-29T16:18:19.126" v="990"/>
          <ac:spMkLst>
            <pc:docMk/>
            <pc:sldMk cId="2573630913" sldId="384"/>
            <ac:spMk id="6" creationId="{562A78BC-BEFA-B17C-A243-5147F807D527}"/>
          </ac:spMkLst>
        </pc:spChg>
        <pc:spChg chg="mod">
          <ac:chgData name="Wolff, Constantin Aaron" userId="dddf5dec-b8d9-4157-833d-3fef5fd37ca5" providerId="ADAL" clId="{554FE398-CAFD-CD43-A5AB-0402D5E358B7}" dt="2023-04-29T16:23:27.768" v="1049" actId="1038"/>
          <ac:spMkLst>
            <pc:docMk/>
            <pc:sldMk cId="2573630913" sldId="384"/>
            <ac:spMk id="7" creationId="{A2CF9E7C-F97B-9007-3352-44FD367BD6BF}"/>
          </ac:spMkLst>
        </pc:spChg>
        <pc:spChg chg="del">
          <ac:chgData name="Wolff, Constantin Aaron" userId="dddf5dec-b8d9-4157-833d-3fef5fd37ca5" providerId="ADAL" clId="{554FE398-CAFD-CD43-A5AB-0402D5E358B7}" dt="2023-04-29T16:18:18.939" v="989" actId="478"/>
          <ac:spMkLst>
            <pc:docMk/>
            <pc:sldMk cId="2573630913" sldId="384"/>
            <ac:spMk id="11" creationId="{778889AE-D5DD-CB3F-7D95-60941E345872}"/>
          </ac:spMkLst>
        </pc:spChg>
        <pc:picChg chg="del">
          <ac:chgData name="Wolff, Constantin Aaron" userId="dddf5dec-b8d9-4157-833d-3fef5fd37ca5" providerId="ADAL" clId="{554FE398-CAFD-CD43-A5AB-0402D5E358B7}" dt="2023-04-29T16:39:27.501" v="1175" actId="478"/>
          <ac:picMkLst>
            <pc:docMk/>
            <pc:sldMk cId="2573630913" sldId="384"/>
            <ac:picMk id="2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39:47.418" v="1181" actId="478"/>
          <ac:picMkLst>
            <pc:docMk/>
            <pc:sldMk cId="2573630913" sldId="384"/>
            <ac:picMk id="3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39:16.668" v="1170" actId="478"/>
          <ac:picMkLst>
            <pc:docMk/>
            <pc:sldMk cId="2573630913" sldId="384"/>
            <ac:picMk id="4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39:38.559" v="1180" actId="1076"/>
          <ac:picMkLst>
            <pc:docMk/>
            <pc:sldMk cId="2573630913" sldId="384"/>
            <ac:picMk id="8" creationId="{573B0FA6-BBCF-2705-ED25-14E0BD1ADF6E}"/>
          </ac:picMkLst>
        </pc:picChg>
        <pc:picChg chg="add mod">
          <ac:chgData name="Wolff, Constantin Aaron" userId="dddf5dec-b8d9-4157-833d-3fef5fd37ca5" providerId="ADAL" clId="{554FE398-CAFD-CD43-A5AB-0402D5E358B7}" dt="2023-04-29T16:39:36.138" v="1179" actId="1076"/>
          <ac:picMkLst>
            <pc:docMk/>
            <pc:sldMk cId="2573630913" sldId="384"/>
            <ac:picMk id="9" creationId="{24A32DDF-F130-0F85-E546-990B934C75C4}"/>
          </ac:picMkLst>
        </pc:picChg>
        <pc:picChg chg="del">
          <ac:chgData name="Wolff, Constantin Aaron" userId="dddf5dec-b8d9-4157-833d-3fef5fd37ca5" providerId="ADAL" clId="{554FE398-CAFD-CD43-A5AB-0402D5E358B7}" dt="2023-04-29T16:39:17.921" v="1171" actId="478"/>
          <ac:picMkLst>
            <pc:docMk/>
            <pc:sldMk cId="2573630913" sldId="384"/>
            <ac:picMk id="10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39:58.243" v="1185" actId="1076"/>
          <ac:picMkLst>
            <pc:docMk/>
            <pc:sldMk cId="2573630913" sldId="384"/>
            <ac:picMk id="12" creationId="{953DD2A7-111E-62C2-883A-8E5280310047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41:13.266" v="1207" actId="1076"/>
        <pc:sldMkLst>
          <pc:docMk/>
          <pc:sldMk cId="1098095648" sldId="385"/>
        </pc:sldMkLst>
        <pc:spChg chg="add mod">
          <ac:chgData name="Wolff, Constantin Aaron" userId="dddf5dec-b8d9-4157-833d-3fef5fd37ca5" providerId="ADAL" clId="{554FE398-CAFD-CD43-A5AB-0402D5E358B7}" dt="2023-04-29T16:18:23.079" v="992"/>
          <ac:spMkLst>
            <pc:docMk/>
            <pc:sldMk cId="1098095648" sldId="385"/>
            <ac:spMk id="2" creationId="{6461936D-634C-1963-2907-430B391CAC7D}"/>
          </ac:spMkLst>
        </pc:spChg>
        <pc:spChg chg="mod">
          <ac:chgData name="Wolff, Constantin Aaron" userId="dddf5dec-b8d9-4157-833d-3fef5fd37ca5" providerId="ADAL" clId="{554FE398-CAFD-CD43-A5AB-0402D5E358B7}" dt="2023-04-29T16:40:39.343" v="1197" actId="1038"/>
          <ac:spMkLst>
            <pc:docMk/>
            <pc:sldMk cId="1098095648" sldId="385"/>
            <ac:spMk id="7" creationId="{A2CF9E7C-F97B-9007-3352-44FD367BD6BF}"/>
          </ac:spMkLst>
        </pc:spChg>
        <pc:spChg chg="del">
          <ac:chgData name="Wolff, Constantin Aaron" userId="dddf5dec-b8d9-4157-833d-3fef5fd37ca5" providerId="ADAL" clId="{554FE398-CAFD-CD43-A5AB-0402D5E358B7}" dt="2023-04-29T16:18:22.878" v="991" actId="478"/>
          <ac:spMkLst>
            <pc:docMk/>
            <pc:sldMk cId="1098095648" sldId="385"/>
            <ac:spMk id="11" creationId="{778889AE-D5DD-CB3F-7D95-60941E345872}"/>
          </ac:spMkLst>
        </pc:spChg>
        <pc:picChg chg="add mod">
          <ac:chgData name="Wolff, Constantin Aaron" userId="dddf5dec-b8d9-4157-833d-3fef5fd37ca5" providerId="ADAL" clId="{554FE398-CAFD-CD43-A5AB-0402D5E358B7}" dt="2023-04-29T16:41:01.846" v="1203" actId="14100"/>
          <ac:picMkLst>
            <pc:docMk/>
            <pc:sldMk cId="1098095648" sldId="385"/>
            <ac:picMk id="3" creationId="{A1BAE3ED-3524-2B8B-BFB7-21F7B64A9AAB}"/>
          </ac:picMkLst>
        </pc:picChg>
        <pc:picChg chg="add mod">
          <ac:chgData name="Wolff, Constantin Aaron" userId="dddf5dec-b8d9-4157-833d-3fef5fd37ca5" providerId="ADAL" clId="{554FE398-CAFD-CD43-A5AB-0402D5E358B7}" dt="2023-04-29T16:41:13.266" v="1207" actId="1076"/>
          <ac:picMkLst>
            <pc:docMk/>
            <pc:sldMk cId="1098095648" sldId="385"/>
            <ac:picMk id="4" creationId="{7FEAC93C-DC28-2E2B-3620-C94F3CEF14F9}"/>
          </ac:picMkLst>
        </pc:picChg>
        <pc:picChg chg="del">
          <ac:chgData name="Wolff, Constantin Aaron" userId="dddf5dec-b8d9-4157-833d-3fef5fd37ca5" providerId="ADAL" clId="{554FE398-CAFD-CD43-A5AB-0402D5E358B7}" dt="2023-04-29T16:40:45.500" v="1198" actId="478"/>
          <ac:picMkLst>
            <pc:docMk/>
            <pc:sldMk cId="1098095648" sldId="385"/>
            <ac:picMk id="6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0:49.752" v="1200" actId="478"/>
          <ac:picMkLst>
            <pc:docMk/>
            <pc:sldMk cId="1098095648" sldId="385"/>
            <ac:picMk id="8" creationId="{00000000-0000-0000-0000-000000000000}"/>
          </ac:picMkLst>
        </pc:picChg>
      </pc:sldChg>
      <pc:sldChg chg="addSp delSp modSp mod delAnim">
        <pc:chgData name="Wolff, Constantin Aaron" userId="dddf5dec-b8d9-4157-833d-3fef5fd37ca5" providerId="ADAL" clId="{554FE398-CAFD-CD43-A5AB-0402D5E358B7}" dt="2023-04-29T16:42:31.701" v="1240" actId="1076"/>
        <pc:sldMkLst>
          <pc:docMk/>
          <pc:sldMk cId="2997194822" sldId="386"/>
        </pc:sldMkLst>
        <pc:spChg chg="add mod">
          <ac:chgData name="Wolff, Constantin Aaron" userId="dddf5dec-b8d9-4157-833d-3fef5fd37ca5" providerId="ADAL" clId="{554FE398-CAFD-CD43-A5AB-0402D5E358B7}" dt="2023-04-29T16:18:26.570" v="994"/>
          <ac:spMkLst>
            <pc:docMk/>
            <pc:sldMk cId="2997194822" sldId="386"/>
            <ac:spMk id="2" creationId="{111BEACC-15CF-DE4D-388B-292B4993B18A}"/>
          </ac:spMkLst>
        </pc:spChg>
        <pc:spChg chg="mod">
          <ac:chgData name="Wolff, Constantin Aaron" userId="dddf5dec-b8d9-4157-833d-3fef5fd37ca5" providerId="ADAL" clId="{554FE398-CAFD-CD43-A5AB-0402D5E358B7}" dt="2023-04-29T16:41:38.660" v="1219" actId="20577"/>
          <ac:spMkLst>
            <pc:docMk/>
            <pc:sldMk cId="2997194822" sldId="386"/>
            <ac:spMk id="7" creationId="{A2CF9E7C-F97B-9007-3352-44FD367BD6BF}"/>
          </ac:spMkLst>
        </pc:spChg>
        <pc:spChg chg="del">
          <ac:chgData name="Wolff, Constantin Aaron" userId="dddf5dec-b8d9-4157-833d-3fef5fd37ca5" providerId="ADAL" clId="{554FE398-CAFD-CD43-A5AB-0402D5E358B7}" dt="2023-04-29T16:18:26.370" v="993" actId="478"/>
          <ac:spMkLst>
            <pc:docMk/>
            <pc:sldMk cId="2997194822" sldId="386"/>
            <ac:spMk id="11" creationId="{778889AE-D5DD-CB3F-7D95-60941E345872}"/>
          </ac:spMkLst>
        </pc:spChg>
        <pc:picChg chg="add mod">
          <ac:chgData name="Wolff, Constantin Aaron" userId="dddf5dec-b8d9-4157-833d-3fef5fd37ca5" providerId="ADAL" clId="{554FE398-CAFD-CD43-A5AB-0402D5E358B7}" dt="2023-04-29T16:42:19.748" v="1237" actId="1076"/>
          <ac:picMkLst>
            <pc:docMk/>
            <pc:sldMk cId="2997194822" sldId="386"/>
            <ac:picMk id="3" creationId="{B9C24C56-B7C4-AD22-C2E3-04D035621004}"/>
          </ac:picMkLst>
        </pc:picChg>
        <pc:picChg chg="add mod">
          <ac:chgData name="Wolff, Constantin Aaron" userId="dddf5dec-b8d9-4157-833d-3fef5fd37ca5" providerId="ADAL" clId="{554FE398-CAFD-CD43-A5AB-0402D5E358B7}" dt="2023-04-29T16:42:15.182" v="1236" actId="1076"/>
          <ac:picMkLst>
            <pc:docMk/>
            <pc:sldMk cId="2997194822" sldId="386"/>
            <ac:picMk id="4" creationId="{B6C255E5-BD60-E557-F698-85732F45DB7F}"/>
          </ac:picMkLst>
        </pc:picChg>
        <pc:picChg chg="del">
          <ac:chgData name="Wolff, Constantin Aaron" userId="dddf5dec-b8d9-4157-833d-3fef5fd37ca5" providerId="ADAL" clId="{554FE398-CAFD-CD43-A5AB-0402D5E358B7}" dt="2023-04-29T16:42:27.875" v="1238" actId="478"/>
          <ac:picMkLst>
            <pc:docMk/>
            <pc:sldMk cId="2997194822" sldId="386"/>
            <ac:picMk id="6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1:41.209" v="1221" actId="478"/>
          <ac:picMkLst>
            <pc:docMk/>
            <pc:sldMk cId="2997194822" sldId="386"/>
            <ac:picMk id="8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1:58.472" v="1228" actId="478"/>
          <ac:picMkLst>
            <pc:docMk/>
            <pc:sldMk cId="2997194822" sldId="386"/>
            <ac:picMk id="9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42:31.701" v="1240" actId="1076"/>
          <ac:picMkLst>
            <pc:docMk/>
            <pc:sldMk cId="2997194822" sldId="386"/>
            <ac:picMk id="10" creationId="{55D470F1-0DA5-304C-5CB2-E340196034FA}"/>
          </ac:picMkLst>
        </pc:picChg>
        <pc:picChg chg="del">
          <ac:chgData name="Wolff, Constantin Aaron" userId="dddf5dec-b8d9-4157-833d-3fef5fd37ca5" providerId="ADAL" clId="{554FE398-CAFD-CD43-A5AB-0402D5E358B7}" dt="2023-04-29T16:41:39.891" v="1220" actId="478"/>
          <ac:picMkLst>
            <pc:docMk/>
            <pc:sldMk cId="2997194822" sldId="386"/>
            <ac:picMk id="12" creationId="{00000000-0000-0000-0000-000000000000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44:46.850" v="1295" actId="1076"/>
        <pc:sldMkLst>
          <pc:docMk/>
          <pc:sldMk cId="1877793680" sldId="387"/>
        </pc:sldMkLst>
        <pc:spChg chg="add mod">
          <ac:chgData name="Wolff, Constantin Aaron" userId="dddf5dec-b8d9-4157-833d-3fef5fd37ca5" providerId="ADAL" clId="{554FE398-CAFD-CD43-A5AB-0402D5E358B7}" dt="2023-04-29T16:18:30.120" v="996"/>
          <ac:spMkLst>
            <pc:docMk/>
            <pc:sldMk cId="1877793680" sldId="387"/>
            <ac:spMk id="2" creationId="{84719284-3F60-AE64-D432-F3229B036ADC}"/>
          </ac:spMkLst>
        </pc:spChg>
        <pc:spChg chg="del">
          <ac:chgData name="Wolff, Constantin Aaron" userId="dddf5dec-b8d9-4157-833d-3fef5fd37ca5" providerId="ADAL" clId="{554FE398-CAFD-CD43-A5AB-0402D5E358B7}" dt="2023-04-29T16:18:29.900" v="995" actId="478"/>
          <ac:spMkLst>
            <pc:docMk/>
            <pc:sldMk cId="1877793680" sldId="387"/>
            <ac:spMk id="8" creationId="{778889AE-D5DD-CB3F-7D95-60941E345872}"/>
          </ac:spMkLst>
        </pc:spChg>
        <pc:picChg chg="add mod">
          <ac:chgData name="Wolff, Constantin Aaron" userId="dddf5dec-b8d9-4157-833d-3fef5fd37ca5" providerId="ADAL" clId="{554FE398-CAFD-CD43-A5AB-0402D5E358B7}" dt="2023-04-29T16:44:45.141" v="1294" actId="1076"/>
          <ac:picMkLst>
            <pc:docMk/>
            <pc:sldMk cId="1877793680" sldId="387"/>
            <ac:picMk id="3" creationId="{382AA573-B7BA-9894-9FFC-DAABAAB8D190}"/>
          </ac:picMkLst>
        </pc:picChg>
        <pc:picChg chg="del">
          <ac:chgData name="Wolff, Constantin Aaron" userId="dddf5dec-b8d9-4157-833d-3fef5fd37ca5" providerId="ADAL" clId="{554FE398-CAFD-CD43-A5AB-0402D5E358B7}" dt="2023-04-29T16:44:32.748" v="1288" actId="478"/>
          <ac:picMkLst>
            <pc:docMk/>
            <pc:sldMk cId="1877793680" sldId="387"/>
            <ac:picMk id="4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4:38.025" v="1290" actId="478"/>
          <ac:picMkLst>
            <pc:docMk/>
            <pc:sldMk cId="1877793680" sldId="387"/>
            <ac:picMk id="6" creationId="{00000000-0000-0000-0000-000000000000}"/>
          </ac:picMkLst>
        </pc:picChg>
        <pc:picChg chg="add del mod">
          <ac:chgData name="Wolff, Constantin Aaron" userId="dddf5dec-b8d9-4157-833d-3fef5fd37ca5" providerId="ADAL" clId="{554FE398-CAFD-CD43-A5AB-0402D5E358B7}" dt="2023-04-29T16:44:41.439" v="1292" actId="478"/>
          <ac:picMkLst>
            <pc:docMk/>
            <pc:sldMk cId="1877793680" sldId="387"/>
            <ac:picMk id="7" creationId="{3E3BFE4F-C0F8-956C-1792-F89E309FD176}"/>
          </ac:picMkLst>
        </pc:picChg>
        <pc:picChg chg="add mod">
          <ac:chgData name="Wolff, Constantin Aaron" userId="dddf5dec-b8d9-4157-833d-3fef5fd37ca5" providerId="ADAL" clId="{554FE398-CAFD-CD43-A5AB-0402D5E358B7}" dt="2023-04-29T16:44:46.850" v="1295" actId="1076"/>
          <ac:picMkLst>
            <pc:docMk/>
            <pc:sldMk cId="1877793680" sldId="387"/>
            <ac:picMk id="11" creationId="{3F194439-A94E-ECBB-6BC4-DD357E98A57D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45:15.216" v="1301" actId="1076"/>
        <pc:sldMkLst>
          <pc:docMk/>
          <pc:sldMk cId="735326902" sldId="388"/>
        </pc:sldMkLst>
        <pc:spChg chg="add mod">
          <ac:chgData name="Wolff, Constantin Aaron" userId="dddf5dec-b8d9-4157-833d-3fef5fd37ca5" providerId="ADAL" clId="{554FE398-CAFD-CD43-A5AB-0402D5E358B7}" dt="2023-04-29T16:18:33.435" v="998"/>
          <ac:spMkLst>
            <pc:docMk/>
            <pc:sldMk cId="735326902" sldId="388"/>
            <ac:spMk id="2" creationId="{1BD4A86B-920F-9C87-3279-B797F5933887}"/>
          </ac:spMkLst>
        </pc:spChg>
        <pc:spChg chg="del">
          <ac:chgData name="Wolff, Constantin Aaron" userId="dddf5dec-b8d9-4157-833d-3fef5fd37ca5" providerId="ADAL" clId="{554FE398-CAFD-CD43-A5AB-0402D5E358B7}" dt="2023-04-29T16:18:33.235" v="997" actId="478"/>
          <ac:spMkLst>
            <pc:docMk/>
            <pc:sldMk cId="735326902" sldId="388"/>
            <ac:spMk id="15" creationId="{778889AE-D5DD-CB3F-7D95-60941E345872}"/>
          </ac:spMkLst>
        </pc:spChg>
        <pc:grpChg chg="del">
          <ac:chgData name="Wolff, Constantin Aaron" userId="dddf5dec-b8d9-4157-833d-3fef5fd37ca5" providerId="ADAL" clId="{554FE398-CAFD-CD43-A5AB-0402D5E358B7}" dt="2023-04-29T16:45:12.556" v="1299" actId="478"/>
          <ac:grpSpMkLst>
            <pc:docMk/>
            <pc:sldMk cId="735326902" sldId="388"/>
            <ac:grpSpMk id="6" creationId="{00000000-0000-0000-0000-000000000000}"/>
          </ac:grpSpMkLst>
        </pc:grpChg>
        <pc:grpChg chg="add mod">
          <ac:chgData name="Wolff, Constantin Aaron" userId="dddf5dec-b8d9-4157-833d-3fef5fd37ca5" providerId="ADAL" clId="{554FE398-CAFD-CD43-A5AB-0402D5E358B7}" dt="2023-04-29T16:45:07.083" v="1298" actId="1076"/>
          <ac:grpSpMkLst>
            <pc:docMk/>
            <pc:sldMk cId="735326902" sldId="388"/>
            <ac:grpSpMk id="7" creationId="{E7FE5678-CFA8-B999-721D-6418812EDFD5}"/>
          </ac:grpSpMkLst>
        </pc:grpChg>
        <pc:grpChg chg="del">
          <ac:chgData name="Wolff, Constantin Aaron" userId="dddf5dec-b8d9-4157-833d-3fef5fd37ca5" providerId="ADAL" clId="{554FE398-CAFD-CD43-A5AB-0402D5E358B7}" dt="2023-04-29T16:44:59.974" v="1296" actId="478"/>
          <ac:grpSpMkLst>
            <pc:docMk/>
            <pc:sldMk cId="735326902" sldId="388"/>
            <ac:grpSpMk id="12" creationId="{00000000-0000-0000-0000-000000000000}"/>
          </ac:grpSpMkLst>
        </pc:grpChg>
        <pc:grpChg chg="add mod">
          <ac:chgData name="Wolff, Constantin Aaron" userId="dddf5dec-b8d9-4157-833d-3fef5fd37ca5" providerId="ADAL" clId="{554FE398-CAFD-CD43-A5AB-0402D5E358B7}" dt="2023-04-29T16:45:15.216" v="1301" actId="1076"/>
          <ac:grpSpMkLst>
            <pc:docMk/>
            <pc:sldMk cId="735326902" sldId="388"/>
            <ac:grpSpMk id="16" creationId="{B9044462-E3D5-4863-532F-1770967C8DA9}"/>
          </ac:grpSpMkLst>
        </pc:grpChg>
        <pc:picChg chg="mod">
          <ac:chgData name="Wolff, Constantin Aaron" userId="dddf5dec-b8d9-4157-833d-3fef5fd37ca5" providerId="ADAL" clId="{554FE398-CAFD-CD43-A5AB-0402D5E358B7}" dt="2023-04-29T16:45:00.226" v="1297"/>
          <ac:picMkLst>
            <pc:docMk/>
            <pc:sldMk cId="735326902" sldId="388"/>
            <ac:picMk id="8" creationId="{C7D9C56B-5021-780E-8C02-A4AD7F0142E3}"/>
          </ac:picMkLst>
        </pc:picChg>
        <pc:picChg chg="mod">
          <ac:chgData name="Wolff, Constantin Aaron" userId="dddf5dec-b8d9-4157-833d-3fef5fd37ca5" providerId="ADAL" clId="{554FE398-CAFD-CD43-A5AB-0402D5E358B7}" dt="2023-04-29T16:45:00.226" v="1297"/>
          <ac:picMkLst>
            <pc:docMk/>
            <pc:sldMk cId="735326902" sldId="388"/>
            <ac:picMk id="10" creationId="{6DE813E2-9F46-340C-EFB2-F630CCE9F5E3}"/>
          </ac:picMkLst>
        </pc:picChg>
        <pc:picChg chg="mod">
          <ac:chgData name="Wolff, Constantin Aaron" userId="dddf5dec-b8d9-4157-833d-3fef5fd37ca5" providerId="ADAL" clId="{554FE398-CAFD-CD43-A5AB-0402D5E358B7}" dt="2023-04-29T16:45:12.779" v="1300"/>
          <ac:picMkLst>
            <pc:docMk/>
            <pc:sldMk cId="735326902" sldId="388"/>
            <ac:picMk id="17" creationId="{5D0B56F2-CBBC-9200-8116-937A2A537424}"/>
          </ac:picMkLst>
        </pc:picChg>
        <pc:picChg chg="mod">
          <ac:chgData name="Wolff, Constantin Aaron" userId="dddf5dec-b8d9-4157-833d-3fef5fd37ca5" providerId="ADAL" clId="{554FE398-CAFD-CD43-A5AB-0402D5E358B7}" dt="2023-04-29T16:45:12.779" v="1300"/>
          <ac:picMkLst>
            <pc:docMk/>
            <pc:sldMk cId="735326902" sldId="388"/>
            <ac:picMk id="18" creationId="{CAC21A33-8D37-A0AD-F877-BC7E9EB72B93}"/>
          </ac:picMkLst>
        </pc:picChg>
      </pc:sldChg>
      <pc:sldChg chg="addSp delSp modSp mod delAnim">
        <pc:chgData name="Wolff, Constantin Aaron" userId="dddf5dec-b8d9-4157-833d-3fef5fd37ca5" providerId="ADAL" clId="{554FE398-CAFD-CD43-A5AB-0402D5E358B7}" dt="2023-04-29T16:58:40.195" v="1393" actId="20577"/>
        <pc:sldMkLst>
          <pc:docMk/>
          <pc:sldMk cId="2693944620" sldId="389"/>
        </pc:sldMkLst>
        <pc:spChg chg="add mod">
          <ac:chgData name="Wolff, Constantin Aaron" userId="dddf5dec-b8d9-4157-833d-3fef5fd37ca5" providerId="ADAL" clId="{554FE398-CAFD-CD43-A5AB-0402D5E358B7}" dt="2023-04-29T16:18:36.723" v="1000"/>
          <ac:spMkLst>
            <pc:docMk/>
            <pc:sldMk cId="2693944620" sldId="389"/>
            <ac:spMk id="2" creationId="{C8A05241-1FA0-F671-994E-66BE7D8C36B8}"/>
          </ac:spMkLst>
        </pc:spChg>
        <pc:spChg chg="del">
          <ac:chgData name="Wolff, Constantin Aaron" userId="dddf5dec-b8d9-4157-833d-3fef5fd37ca5" providerId="ADAL" clId="{554FE398-CAFD-CD43-A5AB-0402D5E358B7}" dt="2023-04-29T16:18:36.565" v="999" actId="478"/>
          <ac:spMkLst>
            <pc:docMk/>
            <pc:sldMk cId="2693944620" sldId="389"/>
            <ac:spMk id="11" creationId="{778889AE-D5DD-CB3F-7D95-60941E345872}"/>
          </ac:spMkLst>
        </pc:spChg>
        <pc:spChg chg="mod">
          <ac:chgData name="Wolff, Constantin Aaron" userId="dddf5dec-b8d9-4157-833d-3fef5fd37ca5" providerId="ADAL" clId="{554FE398-CAFD-CD43-A5AB-0402D5E358B7}" dt="2023-04-29T16:58:40.195" v="1393" actId="20577"/>
          <ac:spMkLst>
            <pc:docMk/>
            <pc:sldMk cId="2693944620" sldId="389"/>
            <ac:spMk id="17" creationId="{A2CF9E7C-F97B-9007-3352-44FD367BD6BF}"/>
          </ac:spMkLst>
        </pc:spChg>
        <pc:picChg chg="add mod">
          <ac:chgData name="Wolff, Constantin Aaron" userId="dddf5dec-b8d9-4157-833d-3fef5fd37ca5" providerId="ADAL" clId="{554FE398-CAFD-CD43-A5AB-0402D5E358B7}" dt="2023-04-29T16:47:44.736" v="1325" actId="1076"/>
          <ac:picMkLst>
            <pc:docMk/>
            <pc:sldMk cId="2693944620" sldId="389"/>
            <ac:picMk id="3" creationId="{19D002C5-1E6F-A690-6189-477F49508ADD}"/>
          </ac:picMkLst>
        </pc:picChg>
        <pc:picChg chg="add mod">
          <ac:chgData name="Wolff, Constantin Aaron" userId="dddf5dec-b8d9-4157-833d-3fef5fd37ca5" providerId="ADAL" clId="{554FE398-CAFD-CD43-A5AB-0402D5E358B7}" dt="2023-04-29T16:47:56.029" v="1327" actId="1076"/>
          <ac:picMkLst>
            <pc:docMk/>
            <pc:sldMk cId="2693944620" sldId="389"/>
            <ac:picMk id="4" creationId="{88491E24-43FA-5EDB-C28A-918E323E3F7D}"/>
          </ac:picMkLst>
        </pc:picChg>
        <pc:picChg chg="add mod">
          <ac:chgData name="Wolff, Constantin Aaron" userId="dddf5dec-b8d9-4157-833d-3fef5fd37ca5" providerId="ADAL" clId="{554FE398-CAFD-CD43-A5AB-0402D5E358B7}" dt="2023-04-29T16:48:32.644" v="1334" actId="1076"/>
          <ac:picMkLst>
            <pc:docMk/>
            <pc:sldMk cId="2693944620" sldId="389"/>
            <ac:picMk id="6" creationId="{7872AE0F-6D5B-8C9A-1560-E6CA5244B028}"/>
          </ac:picMkLst>
        </pc:picChg>
        <pc:picChg chg="del">
          <ac:chgData name="Wolff, Constantin Aaron" userId="dddf5dec-b8d9-4157-833d-3fef5fd37ca5" providerId="ADAL" clId="{554FE398-CAFD-CD43-A5AB-0402D5E358B7}" dt="2023-04-29T16:47:14.168" v="1315" actId="478"/>
          <ac:picMkLst>
            <pc:docMk/>
            <pc:sldMk cId="2693944620" sldId="389"/>
            <ac:picMk id="10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7:23.644" v="1319" actId="478"/>
          <ac:picMkLst>
            <pc:docMk/>
            <pc:sldMk cId="2693944620" sldId="389"/>
            <ac:picMk id="14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8:10.688" v="1328" actId="478"/>
          <ac:picMkLst>
            <pc:docMk/>
            <pc:sldMk cId="2693944620" sldId="389"/>
            <ac:picMk id="15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7:12.815" v="1314" actId="478"/>
          <ac:picMkLst>
            <pc:docMk/>
            <pc:sldMk cId="2693944620" sldId="389"/>
            <ac:picMk id="16" creationId="{00000000-0000-0000-0000-000000000000}"/>
          </ac:picMkLst>
        </pc:picChg>
      </pc:sldChg>
      <pc:sldChg chg="addSp delSp modSp mod">
        <pc:chgData name="Wolff, Constantin Aaron" userId="dddf5dec-b8d9-4157-833d-3fef5fd37ca5" providerId="ADAL" clId="{554FE398-CAFD-CD43-A5AB-0402D5E358B7}" dt="2023-04-29T16:59:04.011" v="1399"/>
        <pc:sldMkLst>
          <pc:docMk/>
          <pc:sldMk cId="1148850774" sldId="390"/>
        </pc:sldMkLst>
        <pc:spChg chg="add mod">
          <ac:chgData name="Wolff, Constantin Aaron" userId="dddf5dec-b8d9-4157-833d-3fef5fd37ca5" providerId="ADAL" clId="{554FE398-CAFD-CD43-A5AB-0402D5E358B7}" dt="2023-04-29T16:18:40.076" v="1002"/>
          <ac:spMkLst>
            <pc:docMk/>
            <pc:sldMk cId="1148850774" sldId="390"/>
            <ac:spMk id="2" creationId="{464C8B70-9560-8A3C-5C8B-7AA823721945}"/>
          </ac:spMkLst>
        </pc:spChg>
        <pc:spChg chg="del">
          <ac:chgData name="Wolff, Constantin Aaron" userId="dddf5dec-b8d9-4157-833d-3fef5fd37ca5" providerId="ADAL" clId="{554FE398-CAFD-CD43-A5AB-0402D5E358B7}" dt="2023-04-29T16:18:39.903" v="1001" actId="478"/>
          <ac:spMkLst>
            <pc:docMk/>
            <pc:sldMk cId="1148850774" sldId="390"/>
            <ac:spMk id="9" creationId="{778889AE-D5DD-CB3F-7D95-60941E345872}"/>
          </ac:spMkLst>
        </pc:spChg>
        <pc:spChg chg="del">
          <ac:chgData name="Wolff, Constantin Aaron" userId="dddf5dec-b8d9-4157-833d-3fef5fd37ca5" providerId="ADAL" clId="{554FE398-CAFD-CD43-A5AB-0402D5E358B7}" dt="2023-04-29T16:59:02.127" v="1397" actId="478"/>
          <ac:spMkLst>
            <pc:docMk/>
            <pc:sldMk cId="1148850774" sldId="390"/>
            <ac:spMk id="11" creationId="{A2CF9E7C-F97B-9007-3352-44FD367BD6BF}"/>
          </ac:spMkLst>
        </pc:spChg>
        <pc:spChg chg="add del mod">
          <ac:chgData name="Wolff, Constantin Aaron" userId="dddf5dec-b8d9-4157-833d-3fef5fd37ca5" providerId="ADAL" clId="{554FE398-CAFD-CD43-A5AB-0402D5E358B7}" dt="2023-04-29T16:59:03.041" v="1398" actId="478"/>
          <ac:spMkLst>
            <pc:docMk/>
            <pc:sldMk cId="1148850774" sldId="390"/>
            <ac:spMk id="12" creationId="{65BC6FCE-40D3-CE1E-F563-B4126840F45C}"/>
          </ac:spMkLst>
        </pc:spChg>
        <pc:spChg chg="add mod">
          <ac:chgData name="Wolff, Constantin Aaron" userId="dddf5dec-b8d9-4157-833d-3fef5fd37ca5" providerId="ADAL" clId="{554FE398-CAFD-CD43-A5AB-0402D5E358B7}" dt="2023-04-29T16:59:04.011" v="1399"/>
          <ac:spMkLst>
            <pc:docMk/>
            <pc:sldMk cId="1148850774" sldId="390"/>
            <ac:spMk id="13" creationId="{91268E29-138E-F910-63BD-3A3488FD66E2}"/>
          </ac:spMkLst>
        </pc:spChg>
        <pc:picChg chg="add mod">
          <ac:chgData name="Wolff, Constantin Aaron" userId="dddf5dec-b8d9-4157-833d-3fef5fd37ca5" providerId="ADAL" clId="{554FE398-CAFD-CD43-A5AB-0402D5E358B7}" dt="2023-04-29T16:49:56.354" v="1348" actId="1076"/>
          <ac:picMkLst>
            <pc:docMk/>
            <pc:sldMk cId="1148850774" sldId="390"/>
            <ac:picMk id="3" creationId="{F828BDFA-2CED-32BF-6D18-2F0460A0226D}"/>
          </ac:picMkLst>
        </pc:picChg>
        <pc:picChg chg="add mod">
          <ac:chgData name="Wolff, Constantin Aaron" userId="dddf5dec-b8d9-4157-833d-3fef5fd37ca5" providerId="ADAL" clId="{554FE398-CAFD-CD43-A5AB-0402D5E358B7}" dt="2023-04-29T16:50:02.266" v="1350" actId="1076"/>
          <ac:picMkLst>
            <pc:docMk/>
            <pc:sldMk cId="1148850774" sldId="390"/>
            <ac:picMk id="4" creationId="{EACEB64E-6205-544D-4226-7320A7CDA6EE}"/>
          </ac:picMkLst>
        </pc:picChg>
        <pc:picChg chg="del">
          <ac:chgData name="Wolff, Constantin Aaron" userId="dddf5dec-b8d9-4157-833d-3fef5fd37ca5" providerId="ADAL" clId="{554FE398-CAFD-CD43-A5AB-0402D5E358B7}" dt="2023-04-29T16:49:41.123" v="1342" actId="478"/>
          <ac:picMkLst>
            <pc:docMk/>
            <pc:sldMk cId="1148850774" sldId="390"/>
            <ac:picMk id="7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9:44.922" v="1344" actId="478"/>
          <ac:picMkLst>
            <pc:docMk/>
            <pc:sldMk cId="1148850774" sldId="390"/>
            <ac:picMk id="8" creationId="{00000000-0000-0000-0000-000000000000}"/>
          </ac:picMkLst>
        </pc:picChg>
      </pc:sldChg>
      <pc:sldChg chg="del">
        <pc:chgData name="Wolff, Constantin Aaron" userId="dddf5dec-b8d9-4157-833d-3fef5fd37ca5" providerId="ADAL" clId="{554FE398-CAFD-CD43-A5AB-0402D5E358B7}" dt="2023-04-29T15:23:03.843" v="23" actId="2696"/>
        <pc:sldMkLst>
          <pc:docMk/>
          <pc:sldMk cId="924478718" sldId="392"/>
        </pc:sldMkLst>
      </pc:sldChg>
      <pc:sldChg chg="modSp mod">
        <pc:chgData name="Wolff, Constantin Aaron" userId="dddf5dec-b8d9-4157-833d-3fef5fd37ca5" providerId="ADAL" clId="{554FE398-CAFD-CD43-A5AB-0402D5E358B7}" dt="2023-04-29T16:18:50.714" v="1008" actId="20577"/>
        <pc:sldMkLst>
          <pc:docMk/>
          <pc:sldMk cId="2094694876" sldId="393"/>
        </pc:sldMkLst>
        <pc:spChg chg="mod">
          <ac:chgData name="Wolff, Constantin Aaron" userId="dddf5dec-b8d9-4157-833d-3fef5fd37ca5" providerId="ADAL" clId="{554FE398-CAFD-CD43-A5AB-0402D5E358B7}" dt="2023-04-29T16:18:50.714" v="1008" actId="20577"/>
          <ac:spMkLst>
            <pc:docMk/>
            <pc:sldMk cId="2094694876" sldId="393"/>
            <ac:spMk id="6" creationId="{778889AE-D5DD-CB3F-7D95-60941E345872}"/>
          </ac:spMkLst>
        </pc:spChg>
      </pc:sldChg>
      <pc:sldChg chg="addSp delSp modSp add mod">
        <pc:chgData name="Wolff, Constantin Aaron" userId="dddf5dec-b8d9-4157-833d-3fef5fd37ca5" providerId="ADAL" clId="{554FE398-CAFD-CD43-A5AB-0402D5E358B7}" dt="2023-04-29T16:11:49.077" v="826"/>
        <pc:sldMkLst>
          <pc:docMk/>
          <pc:sldMk cId="3267703783" sldId="394"/>
        </pc:sldMkLst>
        <pc:spChg chg="add mod">
          <ac:chgData name="Wolff, Constantin Aaron" userId="dddf5dec-b8d9-4157-833d-3fef5fd37ca5" providerId="ADAL" clId="{554FE398-CAFD-CD43-A5AB-0402D5E358B7}" dt="2023-04-29T16:11:49.077" v="826"/>
          <ac:spMkLst>
            <pc:docMk/>
            <pc:sldMk cId="3267703783" sldId="394"/>
            <ac:spMk id="2" creationId="{0ECB191E-CC7F-F4B4-99ED-14E0E351C5D8}"/>
          </ac:spMkLst>
        </pc:spChg>
        <pc:spChg chg="del">
          <ac:chgData name="Wolff, Constantin Aaron" userId="dddf5dec-b8d9-4157-833d-3fef5fd37ca5" providerId="ADAL" clId="{554FE398-CAFD-CD43-A5AB-0402D5E358B7}" dt="2023-04-29T16:11:48.812" v="825" actId="478"/>
          <ac:spMkLst>
            <pc:docMk/>
            <pc:sldMk cId="3267703783" sldId="394"/>
            <ac:spMk id="17" creationId="{778889AE-D5DD-CB3F-7D95-60941E345872}"/>
          </ac:spMkLst>
        </pc:spChg>
        <pc:picChg chg="del">
          <ac:chgData name="Wolff, Constantin Aaron" userId="dddf5dec-b8d9-4157-833d-3fef5fd37ca5" providerId="ADAL" clId="{554FE398-CAFD-CD43-A5AB-0402D5E358B7}" dt="2023-04-29T15:44:09.554" v="463" actId="478"/>
          <ac:picMkLst>
            <pc:docMk/>
            <pc:sldMk cId="3267703783" sldId="394"/>
            <ac:picMk id="4" creationId="{00000000-0000-0000-0000-000000000000}"/>
          </ac:picMkLst>
        </pc:picChg>
      </pc:sldChg>
      <pc:sldChg chg="add del">
        <pc:chgData name="Wolff, Constantin Aaron" userId="dddf5dec-b8d9-4157-833d-3fef5fd37ca5" providerId="ADAL" clId="{554FE398-CAFD-CD43-A5AB-0402D5E358B7}" dt="2023-04-29T15:43:51.836" v="460"/>
        <pc:sldMkLst>
          <pc:docMk/>
          <pc:sldMk cId="1103560608" sldId="395"/>
        </pc:sldMkLst>
      </pc:sldChg>
      <pc:sldChg chg="add del">
        <pc:chgData name="Wolff, Constantin Aaron" userId="dddf5dec-b8d9-4157-833d-3fef5fd37ca5" providerId="ADAL" clId="{554FE398-CAFD-CD43-A5AB-0402D5E358B7}" dt="2023-04-29T15:44:04.321" v="462"/>
        <pc:sldMkLst>
          <pc:docMk/>
          <pc:sldMk cId="1269850337" sldId="395"/>
        </pc:sldMkLst>
      </pc:sldChg>
      <pc:sldChg chg="addSp delSp modSp add mod">
        <pc:chgData name="Wolff, Constantin Aaron" userId="dddf5dec-b8d9-4157-833d-3fef5fd37ca5" providerId="ADAL" clId="{554FE398-CAFD-CD43-A5AB-0402D5E358B7}" dt="2023-04-29T16:11:58.031" v="830"/>
        <pc:sldMkLst>
          <pc:docMk/>
          <pc:sldMk cId="3258325324" sldId="395"/>
        </pc:sldMkLst>
        <pc:spChg chg="add mod">
          <ac:chgData name="Wolff, Constantin Aaron" userId="dddf5dec-b8d9-4157-833d-3fef5fd37ca5" providerId="ADAL" clId="{554FE398-CAFD-CD43-A5AB-0402D5E358B7}" dt="2023-04-29T16:11:58.031" v="830"/>
          <ac:spMkLst>
            <pc:docMk/>
            <pc:sldMk cId="3258325324" sldId="395"/>
            <ac:spMk id="3" creationId="{359FE7A4-541C-DA56-46CA-0D66EAD7C584}"/>
          </ac:spMkLst>
        </pc:spChg>
        <pc:spChg chg="del mod">
          <ac:chgData name="Wolff, Constantin Aaron" userId="dddf5dec-b8d9-4157-833d-3fef5fd37ca5" providerId="ADAL" clId="{554FE398-CAFD-CD43-A5AB-0402D5E358B7}" dt="2023-04-29T16:11:57.754" v="829" actId="478"/>
          <ac:spMkLst>
            <pc:docMk/>
            <pc:sldMk cId="3258325324" sldId="395"/>
            <ac:spMk id="9" creationId="{778889AE-D5DD-CB3F-7D95-60941E345872}"/>
          </ac:spMkLst>
        </pc:spChg>
        <pc:spChg chg="mod">
          <ac:chgData name="Wolff, Constantin Aaron" userId="dddf5dec-b8d9-4157-833d-3fef5fd37ca5" providerId="ADAL" clId="{554FE398-CAFD-CD43-A5AB-0402D5E358B7}" dt="2023-04-29T16:10:49.144" v="801" actId="20577"/>
          <ac:spMkLst>
            <pc:docMk/>
            <pc:sldMk cId="3258325324" sldId="395"/>
            <ac:spMk id="15" creationId="{7C315CE0-2C53-2CDA-651F-6D125EABA8D3}"/>
          </ac:spMkLst>
        </pc:spChg>
      </pc:sldChg>
      <pc:sldChg chg="addSp delSp modSp add mod">
        <pc:chgData name="Wolff, Constantin Aaron" userId="dddf5dec-b8d9-4157-833d-3fef5fd37ca5" providerId="ADAL" clId="{554FE398-CAFD-CD43-A5AB-0402D5E358B7}" dt="2023-04-29T16:21:28.421" v="1035" actId="1076"/>
        <pc:sldMkLst>
          <pc:docMk/>
          <pc:sldMk cId="3320777220" sldId="396"/>
        </pc:sldMkLst>
        <pc:picChg chg="add mod">
          <ac:chgData name="Wolff, Constantin Aaron" userId="dddf5dec-b8d9-4157-833d-3fef5fd37ca5" providerId="ADAL" clId="{554FE398-CAFD-CD43-A5AB-0402D5E358B7}" dt="2023-04-29T16:21:28.421" v="1035" actId="1076"/>
          <ac:picMkLst>
            <pc:docMk/>
            <pc:sldMk cId="3320777220" sldId="396"/>
            <ac:picMk id="4" creationId="{7F42A218-ABD6-DFA4-B4DB-2E94702C15F6}"/>
          </ac:picMkLst>
        </pc:picChg>
        <pc:picChg chg="del">
          <ac:chgData name="Wolff, Constantin Aaron" userId="dddf5dec-b8d9-4157-833d-3fef5fd37ca5" providerId="ADAL" clId="{554FE398-CAFD-CD43-A5AB-0402D5E358B7}" dt="2023-04-29T16:21:23.953" v="1032" actId="478"/>
          <ac:picMkLst>
            <pc:docMk/>
            <pc:sldMk cId="3320777220" sldId="396"/>
            <ac:picMk id="6" creationId="{ABBF2D6E-DFDF-473B-B073-E00450A23F99}"/>
          </ac:picMkLst>
        </pc:picChg>
        <pc:picChg chg="del">
          <ac:chgData name="Wolff, Constantin Aaron" userId="dddf5dec-b8d9-4157-833d-3fef5fd37ca5" providerId="ADAL" clId="{554FE398-CAFD-CD43-A5AB-0402D5E358B7}" dt="2023-04-29T16:21:24.925" v="1033" actId="478"/>
          <ac:picMkLst>
            <pc:docMk/>
            <pc:sldMk cId="3320777220" sldId="396"/>
            <ac:picMk id="8" creationId="{5A08EECE-FF01-7BFC-6171-5AAE5EC0B3F1}"/>
          </ac:picMkLst>
        </pc:picChg>
        <pc:picChg chg="del">
          <ac:chgData name="Wolff, Constantin Aaron" userId="dddf5dec-b8d9-4157-833d-3fef5fd37ca5" providerId="ADAL" clId="{554FE398-CAFD-CD43-A5AB-0402D5E358B7}" dt="2023-04-29T16:21:22.572" v="1031" actId="478"/>
          <ac:picMkLst>
            <pc:docMk/>
            <pc:sldMk cId="3320777220" sldId="396"/>
            <ac:picMk id="9" creationId="{BEFA6613-D8E4-BCF1-0BE7-0D87B2322BE3}"/>
          </ac:picMkLst>
        </pc:picChg>
      </pc:sldChg>
      <pc:sldChg chg="addSp delSp modSp add mod delAnim">
        <pc:chgData name="Wolff, Constantin Aaron" userId="dddf5dec-b8d9-4157-833d-3fef5fd37ca5" providerId="ADAL" clId="{554FE398-CAFD-CD43-A5AB-0402D5E358B7}" dt="2023-04-29T16:26:19.253" v="1091"/>
        <pc:sldMkLst>
          <pc:docMk/>
          <pc:sldMk cId="3338611390" sldId="397"/>
        </pc:sldMkLst>
        <pc:spChg chg="mod">
          <ac:chgData name="Wolff, Constantin Aaron" userId="dddf5dec-b8d9-4157-833d-3fef5fd37ca5" providerId="ADAL" clId="{554FE398-CAFD-CD43-A5AB-0402D5E358B7}" dt="2023-04-29T16:23:47.891" v="1056" actId="20577"/>
          <ac:spMkLst>
            <pc:docMk/>
            <pc:sldMk cId="3338611390" sldId="397"/>
            <ac:spMk id="7" creationId="{A2CF9E7C-F97B-9007-3352-44FD367BD6BF}"/>
          </ac:spMkLst>
        </pc:spChg>
        <pc:picChg chg="del">
          <ac:chgData name="Wolff, Constantin Aaron" userId="dddf5dec-b8d9-4157-833d-3fef5fd37ca5" providerId="ADAL" clId="{554FE398-CAFD-CD43-A5AB-0402D5E358B7}" dt="2023-04-29T16:24:15.844" v="1063" actId="478"/>
          <ac:picMkLst>
            <pc:docMk/>
            <pc:sldMk cId="3338611390" sldId="397"/>
            <ac:picMk id="2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24:46.091" v="1072" actId="478"/>
          <ac:picMkLst>
            <pc:docMk/>
            <pc:sldMk cId="3338611390" sldId="397"/>
            <ac:picMk id="3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24:01.837" v="1057" actId="478"/>
          <ac:picMkLst>
            <pc:docMk/>
            <pc:sldMk cId="3338611390" sldId="397"/>
            <ac:picMk id="4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24:27.070" v="1068" actId="1076"/>
          <ac:picMkLst>
            <pc:docMk/>
            <pc:sldMk cId="3338611390" sldId="397"/>
            <ac:picMk id="8" creationId="{C554DD26-6C92-1C49-9549-14660CD240FA}"/>
          </ac:picMkLst>
        </pc:picChg>
        <pc:picChg chg="add mod">
          <ac:chgData name="Wolff, Constantin Aaron" userId="dddf5dec-b8d9-4157-833d-3fef5fd37ca5" providerId="ADAL" clId="{554FE398-CAFD-CD43-A5AB-0402D5E358B7}" dt="2023-04-29T16:24:36.250" v="1071" actId="1076"/>
          <ac:picMkLst>
            <pc:docMk/>
            <pc:sldMk cId="3338611390" sldId="397"/>
            <ac:picMk id="9" creationId="{49B0F9D3-A9DF-E76B-EE79-A2E4B556064D}"/>
          </ac:picMkLst>
        </pc:picChg>
        <pc:picChg chg="del">
          <ac:chgData name="Wolff, Constantin Aaron" userId="dddf5dec-b8d9-4157-833d-3fef5fd37ca5" providerId="ADAL" clId="{554FE398-CAFD-CD43-A5AB-0402D5E358B7}" dt="2023-04-29T16:24:03.640" v="1058" actId="478"/>
          <ac:picMkLst>
            <pc:docMk/>
            <pc:sldMk cId="3338611390" sldId="397"/>
            <ac:picMk id="10" creationId="{00000000-0000-0000-0000-000000000000}"/>
          </ac:picMkLst>
        </pc:picChg>
        <pc:picChg chg="add del mod">
          <ac:chgData name="Wolff, Constantin Aaron" userId="dddf5dec-b8d9-4157-833d-3fef5fd37ca5" providerId="ADAL" clId="{554FE398-CAFD-CD43-A5AB-0402D5E358B7}" dt="2023-04-29T16:26:18.810" v="1090" actId="478"/>
          <ac:picMkLst>
            <pc:docMk/>
            <pc:sldMk cId="3338611390" sldId="397"/>
            <ac:picMk id="11" creationId="{1EDA9E4A-9C94-92FC-CA34-CCB4448663DB}"/>
          </ac:picMkLst>
        </pc:picChg>
        <pc:picChg chg="add mod">
          <ac:chgData name="Wolff, Constantin Aaron" userId="dddf5dec-b8d9-4157-833d-3fef5fd37ca5" providerId="ADAL" clId="{554FE398-CAFD-CD43-A5AB-0402D5E358B7}" dt="2023-04-29T16:26:19.253" v="1091"/>
          <ac:picMkLst>
            <pc:docMk/>
            <pc:sldMk cId="3338611390" sldId="397"/>
            <ac:picMk id="12" creationId="{F0192255-B8A4-62BA-9E14-7591A9E720AB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26:00.414" v="1089" actId="1076"/>
        <pc:sldMkLst>
          <pc:docMk/>
          <pc:sldMk cId="1053993217" sldId="398"/>
        </pc:sldMkLst>
        <pc:picChg chg="add mod">
          <ac:chgData name="Wolff, Constantin Aaron" userId="dddf5dec-b8d9-4157-833d-3fef5fd37ca5" providerId="ADAL" clId="{554FE398-CAFD-CD43-A5AB-0402D5E358B7}" dt="2023-04-29T16:26:00.414" v="1089" actId="1076"/>
          <ac:picMkLst>
            <pc:docMk/>
            <pc:sldMk cId="1053993217" sldId="398"/>
            <ac:picMk id="2" creationId="{9B0F1245-3A27-B2D6-ECC4-F43F046A3878}"/>
          </ac:picMkLst>
        </pc:picChg>
        <pc:picChg chg="del">
          <ac:chgData name="Wolff, Constantin Aaron" userId="dddf5dec-b8d9-4157-833d-3fef5fd37ca5" providerId="ADAL" clId="{554FE398-CAFD-CD43-A5AB-0402D5E358B7}" dt="2023-04-29T16:25:34.401" v="1082" actId="478"/>
          <ac:picMkLst>
            <pc:docMk/>
            <pc:sldMk cId="1053993217" sldId="398"/>
            <ac:picMk id="8" creationId="{C554DD26-6C92-1C49-9549-14660CD240FA}"/>
          </ac:picMkLst>
        </pc:picChg>
        <pc:picChg chg="del">
          <ac:chgData name="Wolff, Constantin Aaron" userId="dddf5dec-b8d9-4157-833d-3fef5fd37ca5" providerId="ADAL" clId="{554FE398-CAFD-CD43-A5AB-0402D5E358B7}" dt="2023-04-29T16:25:33.742" v="1081" actId="478"/>
          <ac:picMkLst>
            <pc:docMk/>
            <pc:sldMk cId="1053993217" sldId="398"/>
            <ac:picMk id="9" creationId="{49B0F9D3-A9DF-E76B-EE79-A2E4B556064D}"/>
          </ac:picMkLst>
        </pc:picChg>
        <pc:picChg chg="mod">
          <ac:chgData name="Wolff, Constantin Aaron" userId="dddf5dec-b8d9-4157-833d-3fef5fd37ca5" providerId="ADAL" clId="{554FE398-CAFD-CD43-A5AB-0402D5E358B7}" dt="2023-04-29T16:25:55.540" v="1088" actId="1076"/>
          <ac:picMkLst>
            <pc:docMk/>
            <pc:sldMk cId="1053993217" sldId="398"/>
            <ac:picMk id="11" creationId="{1EDA9E4A-9C94-92FC-CA34-CCB4448663DB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26:59.145" v="1109" actId="1076"/>
        <pc:sldMkLst>
          <pc:docMk/>
          <pc:sldMk cId="1539642722" sldId="399"/>
        </pc:sldMkLst>
        <pc:spChg chg="mod">
          <ac:chgData name="Wolff, Constantin Aaron" userId="dddf5dec-b8d9-4157-833d-3fef5fd37ca5" providerId="ADAL" clId="{554FE398-CAFD-CD43-A5AB-0402D5E358B7}" dt="2023-04-29T16:26:33.289" v="1100" actId="1038"/>
          <ac:spMkLst>
            <pc:docMk/>
            <pc:sldMk cId="1539642722" sldId="399"/>
            <ac:spMk id="7" creationId="{A2CF9E7C-F97B-9007-3352-44FD367BD6BF}"/>
          </ac:spMkLst>
        </pc:spChg>
        <pc:picChg chg="add mod">
          <ac:chgData name="Wolff, Constantin Aaron" userId="dddf5dec-b8d9-4157-833d-3fef5fd37ca5" providerId="ADAL" clId="{554FE398-CAFD-CD43-A5AB-0402D5E358B7}" dt="2023-04-29T16:26:48.575" v="1104" actId="1076"/>
          <ac:picMkLst>
            <pc:docMk/>
            <pc:sldMk cId="1539642722" sldId="399"/>
            <ac:picMk id="3" creationId="{67212404-75F1-185B-033B-9F30481CAA60}"/>
          </ac:picMkLst>
        </pc:picChg>
        <pc:picChg chg="add mod">
          <ac:chgData name="Wolff, Constantin Aaron" userId="dddf5dec-b8d9-4157-833d-3fef5fd37ca5" providerId="ADAL" clId="{554FE398-CAFD-CD43-A5AB-0402D5E358B7}" dt="2023-04-29T16:26:59.145" v="1109" actId="1076"/>
          <ac:picMkLst>
            <pc:docMk/>
            <pc:sldMk cId="1539642722" sldId="399"/>
            <ac:picMk id="4" creationId="{D899EC52-B0D0-DD00-600C-C931D977BBFD}"/>
          </ac:picMkLst>
        </pc:picChg>
        <pc:picChg chg="del">
          <ac:chgData name="Wolff, Constantin Aaron" userId="dddf5dec-b8d9-4157-833d-3fef5fd37ca5" providerId="ADAL" clId="{554FE398-CAFD-CD43-A5AB-0402D5E358B7}" dt="2023-04-29T16:26:41.360" v="1101" actId="478"/>
          <ac:picMkLst>
            <pc:docMk/>
            <pc:sldMk cId="1539642722" sldId="399"/>
            <ac:picMk id="6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26:53.296" v="1105" actId="478"/>
          <ac:picMkLst>
            <pc:docMk/>
            <pc:sldMk cId="1539642722" sldId="399"/>
            <ac:picMk id="8" creationId="{00000000-0000-0000-0000-000000000000}"/>
          </ac:picMkLst>
        </pc:picChg>
      </pc:sldChg>
      <pc:sldChg chg="addSp delSp modSp add mod delAnim">
        <pc:chgData name="Wolff, Constantin Aaron" userId="dddf5dec-b8d9-4157-833d-3fef5fd37ca5" providerId="ADAL" clId="{554FE398-CAFD-CD43-A5AB-0402D5E358B7}" dt="2023-04-29T16:37:55.401" v="1154" actId="1076"/>
        <pc:sldMkLst>
          <pc:docMk/>
          <pc:sldMk cId="1220186960" sldId="400"/>
        </pc:sldMkLst>
        <pc:spChg chg="mod">
          <ac:chgData name="Wolff, Constantin Aaron" userId="dddf5dec-b8d9-4157-833d-3fef5fd37ca5" providerId="ADAL" clId="{554FE398-CAFD-CD43-A5AB-0402D5E358B7}" dt="2023-04-29T16:36:53.881" v="1121" actId="20577"/>
          <ac:spMkLst>
            <pc:docMk/>
            <pc:sldMk cId="1220186960" sldId="400"/>
            <ac:spMk id="7" creationId="{A2CF9E7C-F97B-9007-3352-44FD367BD6BF}"/>
          </ac:spMkLst>
        </pc:spChg>
        <pc:picChg chg="del">
          <ac:chgData name="Wolff, Constantin Aaron" userId="dddf5dec-b8d9-4157-833d-3fef5fd37ca5" providerId="ADAL" clId="{554FE398-CAFD-CD43-A5AB-0402D5E358B7}" dt="2023-04-29T16:37:32.455" v="1143" actId="478"/>
          <ac:picMkLst>
            <pc:docMk/>
            <pc:sldMk cId="1220186960" sldId="400"/>
            <ac:picMk id="2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37:49.267" v="1150" actId="478"/>
          <ac:picMkLst>
            <pc:docMk/>
            <pc:sldMk cId="1220186960" sldId="400"/>
            <ac:picMk id="3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37:13.978" v="1136" actId="478"/>
          <ac:picMkLst>
            <pc:docMk/>
            <pc:sldMk cId="1220186960" sldId="400"/>
            <ac:picMk id="4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37:28.158" v="1142" actId="1076"/>
          <ac:picMkLst>
            <pc:docMk/>
            <pc:sldMk cId="1220186960" sldId="400"/>
            <ac:picMk id="8" creationId="{5312AA86-6224-2D7D-BA84-848D754A019A}"/>
          </ac:picMkLst>
        </pc:picChg>
        <pc:picChg chg="add mod">
          <ac:chgData name="Wolff, Constantin Aaron" userId="dddf5dec-b8d9-4157-833d-3fef5fd37ca5" providerId="ADAL" clId="{554FE398-CAFD-CD43-A5AB-0402D5E358B7}" dt="2023-04-29T16:37:43.805" v="1149" actId="1076"/>
          <ac:picMkLst>
            <pc:docMk/>
            <pc:sldMk cId="1220186960" sldId="400"/>
            <ac:picMk id="9" creationId="{306F5EE2-8BE3-3DA1-7DD3-121E2159D2F3}"/>
          </ac:picMkLst>
        </pc:picChg>
        <pc:picChg chg="del">
          <ac:chgData name="Wolff, Constantin Aaron" userId="dddf5dec-b8d9-4157-833d-3fef5fd37ca5" providerId="ADAL" clId="{554FE398-CAFD-CD43-A5AB-0402D5E358B7}" dt="2023-04-29T16:37:16.806" v="1138" actId="478"/>
          <ac:picMkLst>
            <pc:docMk/>
            <pc:sldMk cId="1220186960" sldId="400"/>
            <ac:picMk id="10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37:55.401" v="1154" actId="1076"/>
          <ac:picMkLst>
            <pc:docMk/>
            <pc:sldMk cId="1220186960" sldId="400"/>
            <ac:picMk id="11" creationId="{9B11CA81-E2CD-B3E4-E2D5-1B6501516FAD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39:06.198" v="1169" actId="14100"/>
        <pc:sldMkLst>
          <pc:docMk/>
          <pc:sldMk cId="3436613769" sldId="401"/>
        </pc:sldMkLst>
        <pc:spChg chg="mod">
          <ac:chgData name="Wolff, Constantin Aaron" userId="dddf5dec-b8d9-4157-833d-3fef5fd37ca5" providerId="ADAL" clId="{554FE398-CAFD-CD43-A5AB-0402D5E358B7}" dt="2023-04-29T16:37:05.098" v="1135" actId="1038"/>
          <ac:spMkLst>
            <pc:docMk/>
            <pc:sldMk cId="3436613769" sldId="401"/>
            <ac:spMk id="7" creationId="{A2CF9E7C-F97B-9007-3352-44FD367BD6BF}"/>
          </ac:spMkLst>
        </pc:spChg>
        <pc:picChg chg="add mod">
          <ac:chgData name="Wolff, Constantin Aaron" userId="dddf5dec-b8d9-4157-833d-3fef5fd37ca5" providerId="ADAL" clId="{554FE398-CAFD-CD43-A5AB-0402D5E358B7}" dt="2023-04-29T16:38:36.180" v="1164" actId="1076"/>
          <ac:picMkLst>
            <pc:docMk/>
            <pc:sldMk cId="3436613769" sldId="401"/>
            <ac:picMk id="3" creationId="{A9E002C2-2250-AC1F-CF5C-E7840F874180}"/>
          </ac:picMkLst>
        </pc:picChg>
        <pc:picChg chg="add mod">
          <ac:chgData name="Wolff, Constantin Aaron" userId="dddf5dec-b8d9-4157-833d-3fef5fd37ca5" providerId="ADAL" clId="{554FE398-CAFD-CD43-A5AB-0402D5E358B7}" dt="2023-04-29T16:39:06.198" v="1169" actId="14100"/>
          <ac:picMkLst>
            <pc:docMk/>
            <pc:sldMk cId="3436613769" sldId="401"/>
            <ac:picMk id="4" creationId="{E5FD5123-24CD-8455-8320-887D51EE6412}"/>
          </ac:picMkLst>
        </pc:picChg>
        <pc:picChg chg="del">
          <ac:chgData name="Wolff, Constantin Aaron" userId="dddf5dec-b8d9-4157-833d-3fef5fd37ca5" providerId="ADAL" clId="{554FE398-CAFD-CD43-A5AB-0402D5E358B7}" dt="2023-04-29T16:38:29.065" v="1162" actId="478"/>
          <ac:picMkLst>
            <pc:docMk/>
            <pc:sldMk cId="3436613769" sldId="401"/>
            <ac:picMk id="6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38:40.427" v="1165" actId="478"/>
          <ac:picMkLst>
            <pc:docMk/>
            <pc:sldMk cId="3436613769" sldId="401"/>
            <ac:picMk id="8" creationId="{00000000-0000-0000-0000-000000000000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38:11.771" v="1161" actId="1076"/>
        <pc:sldMkLst>
          <pc:docMk/>
          <pc:sldMk cId="2212394207" sldId="402"/>
        </pc:sldMkLst>
        <pc:picChg chg="add mod">
          <ac:chgData name="Wolff, Constantin Aaron" userId="dddf5dec-b8d9-4157-833d-3fef5fd37ca5" providerId="ADAL" clId="{554FE398-CAFD-CD43-A5AB-0402D5E358B7}" dt="2023-04-29T16:38:11.771" v="1161" actId="1076"/>
          <ac:picMkLst>
            <pc:docMk/>
            <pc:sldMk cId="2212394207" sldId="402"/>
            <ac:picMk id="2" creationId="{AC0370A6-27AF-7068-0D03-52849CA65B3E}"/>
          </ac:picMkLst>
        </pc:picChg>
        <pc:picChg chg="del">
          <ac:chgData name="Wolff, Constantin Aaron" userId="dddf5dec-b8d9-4157-833d-3fef5fd37ca5" providerId="ADAL" clId="{554FE398-CAFD-CD43-A5AB-0402D5E358B7}" dt="2023-04-29T16:38:03.746" v="1157" actId="478"/>
          <ac:picMkLst>
            <pc:docMk/>
            <pc:sldMk cId="2212394207" sldId="402"/>
            <ac:picMk id="8" creationId="{5312AA86-6224-2D7D-BA84-848D754A019A}"/>
          </ac:picMkLst>
        </pc:picChg>
        <pc:picChg chg="del">
          <ac:chgData name="Wolff, Constantin Aaron" userId="dddf5dec-b8d9-4157-833d-3fef5fd37ca5" providerId="ADAL" clId="{554FE398-CAFD-CD43-A5AB-0402D5E358B7}" dt="2023-04-29T16:38:02.809" v="1156" actId="478"/>
          <ac:picMkLst>
            <pc:docMk/>
            <pc:sldMk cId="2212394207" sldId="402"/>
            <ac:picMk id="9" creationId="{306F5EE2-8BE3-3DA1-7DD3-121E2159D2F3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40:25.014" v="1195" actId="1036"/>
        <pc:sldMkLst>
          <pc:docMk/>
          <pc:sldMk cId="2524786871" sldId="403"/>
        </pc:sldMkLst>
        <pc:picChg chg="add mod">
          <ac:chgData name="Wolff, Constantin Aaron" userId="dddf5dec-b8d9-4157-833d-3fef5fd37ca5" providerId="ADAL" clId="{554FE398-CAFD-CD43-A5AB-0402D5E358B7}" dt="2023-04-29T16:40:25.014" v="1195" actId="1036"/>
          <ac:picMkLst>
            <pc:docMk/>
            <pc:sldMk cId="2524786871" sldId="403"/>
            <ac:picMk id="2" creationId="{BA114D48-1945-B2B1-DB47-E4B8DAA3FF17}"/>
          </ac:picMkLst>
        </pc:picChg>
        <pc:picChg chg="del">
          <ac:chgData name="Wolff, Constantin Aaron" userId="dddf5dec-b8d9-4157-833d-3fef5fd37ca5" providerId="ADAL" clId="{554FE398-CAFD-CD43-A5AB-0402D5E358B7}" dt="2023-04-29T16:40:10.642" v="1188" actId="478"/>
          <ac:picMkLst>
            <pc:docMk/>
            <pc:sldMk cId="2524786871" sldId="403"/>
            <ac:picMk id="8" creationId="{573B0FA6-BBCF-2705-ED25-14E0BD1ADF6E}"/>
          </ac:picMkLst>
        </pc:picChg>
        <pc:picChg chg="del">
          <ac:chgData name="Wolff, Constantin Aaron" userId="dddf5dec-b8d9-4157-833d-3fef5fd37ca5" providerId="ADAL" clId="{554FE398-CAFD-CD43-A5AB-0402D5E358B7}" dt="2023-04-29T16:40:09.753" v="1187" actId="478"/>
          <ac:picMkLst>
            <pc:docMk/>
            <pc:sldMk cId="2524786871" sldId="403"/>
            <ac:picMk id="9" creationId="{24A32DDF-F130-0F85-E546-990B934C75C4}"/>
          </ac:picMkLst>
        </pc:picChg>
      </pc:sldChg>
      <pc:sldChg chg="addSp delSp modSp add mod delAnim">
        <pc:chgData name="Wolff, Constantin Aaron" userId="dddf5dec-b8d9-4157-833d-3fef5fd37ca5" providerId="ADAL" clId="{554FE398-CAFD-CD43-A5AB-0402D5E358B7}" dt="2023-04-29T16:44:03.885" v="1278" actId="1076"/>
        <pc:sldMkLst>
          <pc:docMk/>
          <pc:sldMk cId="831963932" sldId="404"/>
        </pc:sldMkLst>
        <pc:picChg chg="add mod">
          <ac:chgData name="Wolff, Constantin Aaron" userId="dddf5dec-b8d9-4157-833d-3fef5fd37ca5" providerId="ADAL" clId="{554FE398-CAFD-CD43-A5AB-0402D5E358B7}" dt="2023-04-29T16:43:38.308" v="1270" actId="14100"/>
          <ac:picMkLst>
            <pc:docMk/>
            <pc:sldMk cId="831963932" sldId="404"/>
            <ac:picMk id="3" creationId="{675CAED2-32FD-1E7E-19D4-CE61B48E4A3A}"/>
          </ac:picMkLst>
        </pc:picChg>
        <pc:picChg chg="add mod">
          <ac:chgData name="Wolff, Constantin Aaron" userId="dddf5dec-b8d9-4157-833d-3fef5fd37ca5" providerId="ADAL" clId="{554FE398-CAFD-CD43-A5AB-0402D5E358B7}" dt="2023-04-29T16:43:49.558" v="1275" actId="1076"/>
          <ac:picMkLst>
            <pc:docMk/>
            <pc:sldMk cId="831963932" sldId="404"/>
            <ac:picMk id="4" creationId="{0D1B64AD-B210-6DF9-EA15-0D40AB770B2A}"/>
          </ac:picMkLst>
        </pc:picChg>
        <pc:picChg chg="del">
          <ac:chgData name="Wolff, Constantin Aaron" userId="dddf5dec-b8d9-4157-833d-3fef5fd37ca5" providerId="ADAL" clId="{554FE398-CAFD-CD43-A5AB-0402D5E358B7}" dt="2023-04-29T16:43:57.296" v="1276" actId="478"/>
          <ac:picMkLst>
            <pc:docMk/>
            <pc:sldMk cId="831963932" sldId="404"/>
            <ac:picMk id="6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3:32.815" v="1267" actId="478"/>
          <ac:picMkLst>
            <pc:docMk/>
            <pc:sldMk cId="831963932" sldId="404"/>
            <ac:picMk id="8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3:43.841" v="1271" actId="478"/>
          <ac:picMkLst>
            <pc:docMk/>
            <pc:sldMk cId="831963932" sldId="404"/>
            <ac:picMk id="9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44:03.885" v="1278" actId="1076"/>
          <ac:picMkLst>
            <pc:docMk/>
            <pc:sldMk cId="831963932" sldId="404"/>
            <ac:picMk id="10" creationId="{449AC3B4-47C2-6783-30CE-73ECD353FFF1}"/>
          </ac:picMkLst>
        </pc:picChg>
        <pc:picChg chg="del">
          <ac:chgData name="Wolff, Constantin Aaron" userId="dddf5dec-b8d9-4157-833d-3fef5fd37ca5" providerId="ADAL" clId="{554FE398-CAFD-CD43-A5AB-0402D5E358B7}" dt="2023-04-29T16:43:31.803" v="1266" actId="478"/>
          <ac:picMkLst>
            <pc:docMk/>
            <pc:sldMk cId="831963932" sldId="404"/>
            <ac:picMk id="12" creationId="{00000000-0000-0000-0000-000000000000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42:46.166" v="1246" actId="1076"/>
        <pc:sldMkLst>
          <pc:docMk/>
          <pc:sldMk cId="105762091" sldId="405"/>
        </pc:sldMkLst>
        <pc:picChg chg="del">
          <ac:chgData name="Wolff, Constantin Aaron" userId="dddf5dec-b8d9-4157-833d-3fef5fd37ca5" providerId="ADAL" clId="{554FE398-CAFD-CD43-A5AB-0402D5E358B7}" dt="2023-04-29T16:42:40.312" v="1243" actId="478"/>
          <ac:picMkLst>
            <pc:docMk/>
            <pc:sldMk cId="105762091" sldId="405"/>
            <ac:picMk id="3" creationId="{B9C24C56-B7C4-AD22-C2E3-04D035621004}"/>
          </ac:picMkLst>
        </pc:picChg>
        <pc:picChg chg="del">
          <ac:chgData name="Wolff, Constantin Aaron" userId="dddf5dec-b8d9-4157-833d-3fef5fd37ca5" providerId="ADAL" clId="{554FE398-CAFD-CD43-A5AB-0402D5E358B7}" dt="2023-04-29T16:42:39.355" v="1242" actId="478"/>
          <ac:picMkLst>
            <pc:docMk/>
            <pc:sldMk cId="105762091" sldId="405"/>
            <ac:picMk id="4" creationId="{B6C255E5-BD60-E557-F698-85732F45DB7F}"/>
          </ac:picMkLst>
        </pc:picChg>
        <pc:picChg chg="add mod">
          <ac:chgData name="Wolff, Constantin Aaron" userId="dddf5dec-b8d9-4157-833d-3fef5fd37ca5" providerId="ADAL" clId="{554FE398-CAFD-CD43-A5AB-0402D5E358B7}" dt="2023-04-29T16:42:46.166" v="1246" actId="1076"/>
          <ac:picMkLst>
            <pc:docMk/>
            <pc:sldMk cId="105762091" sldId="405"/>
            <ac:picMk id="6" creationId="{826ECB46-25A8-FBD6-E5D7-8CA0EB6AE284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43:22.561" v="1265" actId="20577"/>
        <pc:sldMkLst>
          <pc:docMk/>
          <pc:sldMk cId="2129606171" sldId="406"/>
        </pc:sldMkLst>
        <pc:spChg chg="mod">
          <ac:chgData name="Wolff, Constantin Aaron" userId="dddf5dec-b8d9-4157-833d-3fef5fd37ca5" providerId="ADAL" clId="{554FE398-CAFD-CD43-A5AB-0402D5E358B7}" dt="2023-04-29T16:43:22.561" v="1265" actId="20577"/>
          <ac:spMkLst>
            <pc:docMk/>
            <pc:sldMk cId="2129606171" sldId="406"/>
            <ac:spMk id="10" creationId="{A2CF9E7C-F97B-9007-3352-44FD367BD6BF}"/>
          </ac:spMkLst>
        </pc:spChg>
        <pc:picChg chg="add mod">
          <ac:chgData name="Wolff, Constantin Aaron" userId="dddf5dec-b8d9-4157-833d-3fef5fd37ca5" providerId="ADAL" clId="{554FE398-CAFD-CD43-A5AB-0402D5E358B7}" dt="2023-04-29T16:43:01.358" v="1250" actId="1076"/>
          <ac:picMkLst>
            <pc:docMk/>
            <pc:sldMk cId="2129606171" sldId="406"/>
            <ac:picMk id="3" creationId="{6ACC2F9D-DE76-029E-9C92-77B03DE4B521}"/>
          </ac:picMkLst>
        </pc:picChg>
        <pc:picChg chg="del">
          <ac:chgData name="Wolff, Constantin Aaron" userId="dddf5dec-b8d9-4157-833d-3fef5fd37ca5" providerId="ADAL" clId="{554FE398-CAFD-CD43-A5AB-0402D5E358B7}" dt="2023-04-29T16:42:59.034" v="1248" actId="478"/>
          <ac:picMkLst>
            <pc:docMk/>
            <pc:sldMk cId="2129606171" sldId="406"/>
            <ac:picMk id="4" creationId="{00000000-0000-0000-0000-000000000000}"/>
          </ac:picMkLst>
        </pc:picChg>
        <pc:picChg chg="del">
          <ac:chgData name="Wolff, Constantin Aaron" userId="dddf5dec-b8d9-4157-833d-3fef5fd37ca5" providerId="ADAL" clId="{554FE398-CAFD-CD43-A5AB-0402D5E358B7}" dt="2023-04-29T16:43:05.453" v="1251" actId="478"/>
          <ac:picMkLst>
            <pc:docMk/>
            <pc:sldMk cId="2129606171" sldId="406"/>
            <ac:picMk id="6" creationId="{00000000-0000-0000-0000-000000000000}"/>
          </ac:picMkLst>
        </pc:picChg>
        <pc:picChg chg="add mod">
          <ac:chgData name="Wolff, Constantin Aaron" userId="dddf5dec-b8d9-4157-833d-3fef5fd37ca5" providerId="ADAL" clId="{554FE398-CAFD-CD43-A5AB-0402D5E358B7}" dt="2023-04-29T16:43:13.783" v="1254" actId="1076"/>
          <ac:picMkLst>
            <pc:docMk/>
            <pc:sldMk cId="2129606171" sldId="406"/>
            <ac:picMk id="7" creationId="{0A12674B-EBC0-EF85-1232-1D10BA3A1E21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44:24.409" v="1287" actId="1076"/>
        <pc:sldMkLst>
          <pc:docMk/>
          <pc:sldMk cId="719432352" sldId="407"/>
        </pc:sldMkLst>
        <pc:picChg chg="del">
          <ac:chgData name="Wolff, Constantin Aaron" userId="dddf5dec-b8d9-4157-833d-3fef5fd37ca5" providerId="ADAL" clId="{554FE398-CAFD-CD43-A5AB-0402D5E358B7}" dt="2023-04-29T16:44:12.490" v="1281" actId="478"/>
          <ac:picMkLst>
            <pc:docMk/>
            <pc:sldMk cId="719432352" sldId="407"/>
            <ac:picMk id="3" creationId="{675CAED2-32FD-1E7E-19D4-CE61B48E4A3A}"/>
          </ac:picMkLst>
        </pc:picChg>
        <pc:picChg chg="del">
          <ac:chgData name="Wolff, Constantin Aaron" userId="dddf5dec-b8d9-4157-833d-3fef5fd37ca5" providerId="ADAL" clId="{554FE398-CAFD-CD43-A5AB-0402D5E358B7}" dt="2023-04-29T16:44:11.773" v="1280" actId="478"/>
          <ac:picMkLst>
            <pc:docMk/>
            <pc:sldMk cId="719432352" sldId="407"/>
            <ac:picMk id="4" creationId="{0D1B64AD-B210-6DF9-EA15-0D40AB770B2A}"/>
          </ac:picMkLst>
        </pc:picChg>
        <pc:picChg chg="add mod">
          <ac:chgData name="Wolff, Constantin Aaron" userId="dddf5dec-b8d9-4157-833d-3fef5fd37ca5" providerId="ADAL" clId="{554FE398-CAFD-CD43-A5AB-0402D5E358B7}" dt="2023-04-29T16:44:24.409" v="1287" actId="1076"/>
          <ac:picMkLst>
            <pc:docMk/>
            <pc:sldMk cId="719432352" sldId="407"/>
            <ac:picMk id="6" creationId="{52A6E06E-31FF-F340-C195-6D7530403709}"/>
          </ac:picMkLst>
        </pc:picChg>
      </pc:sldChg>
      <pc:sldChg chg="addSp delSp modSp add del mod">
        <pc:chgData name="Wolff, Constantin Aaron" userId="dddf5dec-b8d9-4157-833d-3fef5fd37ca5" providerId="ADAL" clId="{554FE398-CAFD-CD43-A5AB-0402D5E358B7}" dt="2023-04-29T16:45:47.702" v="1307" actId="2696"/>
        <pc:sldMkLst>
          <pc:docMk/>
          <pc:sldMk cId="2276826180" sldId="408"/>
        </pc:sldMkLst>
        <pc:grpChg chg="del">
          <ac:chgData name="Wolff, Constantin Aaron" userId="dddf5dec-b8d9-4157-833d-3fef5fd37ca5" providerId="ADAL" clId="{554FE398-CAFD-CD43-A5AB-0402D5E358B7}" dt="2023-04-29T16:45:32.043" v="1303" actId="478"/>
          <ac:grpSpMkLst>
            <pc:docMk/>
            <pc:sldMk cId="2276826180" sldId="408"/>
            <ac:grpSpMk id="7" creationId="{E7FE5678-CFA8-B999-721D-6418812EDFD5}"/>
          </ac:grpSpMkLst>
        </pc:grpChg>
        <pc:grpChg chg="del">
          <ac:chgData name="Wolff, Constantin Aaron" userId="dddf5dec-b8d9-4157-833d-3fef5fd37ca5" providerId="ADAL" clId="{554FE398-CAFD-CD43-A5AB-0402D5E358B7}" dt="2023-04-29T16:45:33.204" v="1304" actId="478"/>
          <ac:grpSpMkLst>
            <pc:docMk/>
            <pc:sldMk cId="2276826180" sldId="408"/>
            <ac:grpSpMk id="16" creationId="{B9044462-E3D5-4863-532F-1770967C8DA9}"/>
          </ac:grpSpMkLst>
        </pc:grpChg>
        <pc:picChg chg="add mod">
          <ac:chgData name="Wolff, Constantin Aaron" userId="dddf5dec-b8d9-4157-833d-3fef5fd37ca5" providerId="ADAL" clId="{554FE398-CAFD-CD43-A5AB-0402D5E358B7}" dt="2023-04-29T16:45:35.966" v="1306" actId="1076"/>
          <ac:picMkLst>
            <pc:docMk/>
            <pc:sldMk cId="2276826180" sldId="408"/>
            <ac:picMk id="3" creationId="{EA49D56F-D5AE-7C87-0FC3-D3C908566908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46:14.611" v="1313" actId="1076"/>
        <pc:sldMkLst>
          <pc:docMk/>
          <pc:sldMk cId="2816576510" sldId="408"/>
        </pc:sldMkLst>
        <pc:grpChg chg="del">
          <ac:chgData name="Wolff, Constantin Aaron" userId="dddf5dec-b8d9-4157-833d-3fef5fd37ca5" providerId="ADAL" clId="{554FE398-CAFD-CD43-A5AB-0402D5E358B7}" dt="2023-04-29T16:46:07.018" v="1309" actId="478"/>
          <ac:grpSpMkLst>
            <pc:docMk/>
            <pc:sldMk cId="2816576510" sldId="408"/>
            <ac:grpSpMk id="7" creationId="{E7FE5678-CFA8-B999-721D-6418812EDFD5}"/>
          </ac:grpSpMkLst>
        </pc:grpChg>
        <pc:grpChg chg="mod">
          <ac:chgData name="Wolff, Constantin Aaron" userId="dddf5dec-b8d9-4157-833d-3fef5fd37ca5" providerId="ADAL" clId="{554FE398-CAFD-CD43-A5AB-0402D5E358B7}" dt="2023-04-29T16:46:14.611" v="1313" actId="1076"/>
          <ac:grpSpMkLst>
            <pc:docMk/>
            <pc:sldMk cId="2816576510" sldId="408"/>
            <ac:grpSpMk id="16" creationId="{B9044462-E3D5-4863-532F-1770967C8DA9}"/>
          </ac:grpSpMkLst>
        </pc:grpChg>
        <pc:picChg chg="add mod">
          <ac:chgData name="Wolff, Constantin Aaron" userId="dddf5dec-b8d9-4157-833d-3fef5fd37ca5" providerId="ADAL" clId="{554FE398-CAFD-CD43-A5AB-0402D5E358B7}" dt="2023-04-29T16:46:12.255" v="1312" actId="1076"/>
          <ac:picMkLst>
            <pc:docMk/>
            <pc:sldMk cId="2816576510" sldId="408"/>
            <ac:picMk id="3" creationId="{9D32B67F-9DA3-6A90-3FF7-91A3BA24F748}"/>
          </ac:picMkLst>
        </pc:picChg>
      </pc:sldChg>
      <pc:sldChg chg="add del">
        <pc:chgData name="Wolff, Constantin Aaron" userId="dddf5dec-b8d9-4157-833d-3fef5fd37ca5" providerId="ADAL" clId="{554FE398-CAFD-CD43-A5AB-0402D5E358B7}" dt="2023-04-29T16:44:13.933" v="1283"/>
        <pc:sldMkLst>
          <pc:docMk/>
          <pc:sldMk cId="3383079338" sldId="408"/>
        </pc:sldMkLst>
      </pc:sldChg>
      <pc:sldChg chg="addSp delSp modSp add mod">
        <pc:chgData name="Wolff, Constantin Aaron" userId="dddf5dec-b8d9-4157-833d-3fef5fd37ca5" providerId="ADAL" clId="{554FE398-CAFD-CD43-A5AB-0402D5E358B7}" dt="2023-04-29T16:58:55.979" v="1396" actId="478"/>
        <pc:sldMkLst>
          <pc:docMk/>
          <pc:sldMk cId="811228993" sldId="409"/>
        </pc:sldMkLst>
        <pc:spChg chg="add del mod">
          <ac:chgData name="Wolff, Constantin Aaron" userId="dddf5dec-b8d9-4157-833d-3fef5fd37ca5" providerId="ADAL" clId="{554FE398-CAFD-CD43-A5AB-0402D5E358B7}" dt="2023-04-29T16:58:55.979" v="1396" actId="478"/>
          <ac:spMkLst>
            <pc:docMk/>
            <pc:sldMk cId="811228993" sldId="409"/>
            <ac:spMk id="9" creationId="{0D29776F-E082-43E0-D77D-5CE62D36AD04}"/>
          </ac:spMkLst>
        </pc:spChg>
        <pc:spChg chg="add mod">
          <ac:chgData name="Wolff, Constantin Aaron" userId="dddf5dec-b8d9-4157-833d-3fef5fd37ca5" providerId="ADAL" clId="{554FE398-CAFD-CD43-A5AB-0402D5E358B7}" dt="2023-04-29T16:58:49.745" v="1395"/>
          <ac:spMkLst>
            <pc:docMk/>
            <pc:sldMk cId="811228993" sldId="409"/>
            <ac:spMk id="10" creationId="{651A7864-3BAB-46A5-CD6F-FB9287528AC4}"/>
          </ac:spMkLst>
        </pc:spChg>
        <pc:spChg chg="del">
          <ac:chgData name="Wolff, Constantin Aaron" userId="dddf5dec-b8d9-4157-833d-3fef5fd37ca5" providerId="ADAL" clId="{554FE398-CAFD-CD43-A5AB-0402D5E358B7}" dt="2023-04-29T16:58:48.627" v="1394" actId="478"/>
          <ac:spMkLst>
            <pc:docMk/>
            <pc:sldMk cId="811228993" sldId="409"/>
            <ac:spMk id="17" creationId="{A2CF9E7C-F97B-9007-3352-44FD367BD6BF}"/>
          </ac:spMkLst>
        </pc:spChg>
        <pc:picChg chg="del">
          <ac:chgData name="Wolff, Constantin Aaron" userId="dddf5dec-b8d9-4157-833d-3fef5fd37ca5" providerId="ADAL" clId="{554FE398-CAFD-CD43-A5AB-0402D5E358B7}" dt="2023-04-29T16:49:13.923" v="1337" actId="478"/>
          <ac:picMkLst>
            <pc:docMk/>
            <pc:sldMk cId="811228993" sldId="409"/>
            <ac:picMk id="3" creationId="{19D002C5-1E6F-A690-6189-477F49508ADD}"/>
          </ac:picMkLst>
        </pc:picChg>
        <pc:picChg chg="del">
          <ac:chgData name="Wolff, Constantin Aaron" userId="dddf5dec-b8d9-4157-833d-3fef5fd37ca5" providerId="ADAL" clId="{554FE398-CAFD-CD43-A5AB-0402D5E358B7}" dt="2023-04-29T16:49:12.949" v="1336" actId="478"/>
          <ac:picMkLst>
            <pc:docMk/>
            <pc:sldMk cId="811228993" sldId="409"/>
            <ac:picMk id="4" creationId="{88491E24-43FA-5EDB-C28A-918E323E3F7D}"/>
          </ac:picMkLst>
        </pc:picChg>
        <pc:picChg chg="add mod">
          <ac:chgData name="Wolff, Constantin Aaron" userId="dddf5dec-b8d9-4157-833d-3fef5fd37ca5" providerId="ADAL" clId="{554FE398-CAFD-CD43-A5AB-0402D5E358B7}" dt="2023-04-29T16:49:21.751" v="1341" actId="1076"/>
          <ac:picMkLst>
            <pc:docMk/>
            <pc:sldMk cId="811228993" sldId="409"/>
            <ac:picMk id="7" creationId="{252DFBE5-7200-76B5-0C63-069A8CBF0BF7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59:12.883" v="1404" actId="20577"/>
        <pc:sldMkLst>
          <pc:docMk/>
          <pc:sldMk cId="946965297" sldId="410"/>
        </pc:sldMkLst>
        <pc:spChg chg="add del mod">
          <ac:chgData name="Wolff, Constantin Aaron" userId="dddf5dec-b8d9-4157-833d-3fef5fd37ca5" providerId="ADAL" clId="{554FE398-CAFD-CD43-A5AB-0402D5E358B7}" dt="2023-04-29T16:59:09.841" v="1401" actId="478"/>
          <ac:spMkLst>
            <pc:docMk/>
            <pc:sldMk cId="946965297" sldId="410"/>
            <ac:spMk id="11" creationId="{A52D6B34-2EB7-233E-DAA8-4876507DFDA5}"/>
          </ac:spMkLst>
        </pc:spChg>
        <pc:spChg chg="add mod">
          <ac:chgData name="Wolff, Constantin Aaron" userId="dddf5dec-b8d9-4157-833d-3fef5fd37ca5" providerId="ADAL" clId="{554FE398-CAFD-CD43-A5AB-0402D5E358B7}" dt="2023-04-29T16:59:12.883" v="1404" actId="20577"/>
          <ac:spMkLst>
            <pc:docMk/>
            <pc:sldMk cId="946965297" sldId="410"/>
            <ac:spMk id="12" creationId="{BB6F805B-0BF1-89AC-2208-DB79E1EAB847}"/>
          </ac:spMkLst>
        </pc:spChg>
        <pc:spChg chg="del">
          <ac:chgData name="Wolff, Constantin Aaron" userId="dddf5dec-b8d9-4157-833d-3fef5fd37ca5" providerId="ADAL" clId="{554FE398-CAFD-CD43-A5AB-0402D5E358B7}" dt="2023-04-29T16:59:08.078" v="1400" actId="478"/>
          <ac:spMkLst>
            <pc:docMk/>
            <pc:sldMk cId="946965297" sldId="410"/>
            <ac:spMk id="17" creationId="{A2CF9E7C-F97B-9007-3352-44FD367BD6BF}"/>
          </ac:spMkLst>
        </pc:spChg>
        <pc:picChg chg="del">
          <ac:chgData name="Wolff, Constantin Aaron" userId="dddf5dec-b8d9-4157-833d-3fef5fd37ca5" providerId="ADAL" clId="{554FE398-CAFD-CD43-A5AB-0402D5E358B7}" dt="2023-04-29T16:50:22.023" v="1352" actId="478"/>
          <ac:picMkLst>
            <pc:docMk/>
            <pc:sldMk cId="946965297" sldId="410"/>
            <ac:picMk id="3" creationId="{19D002C5-1E6F-A690-6189-477F49508ADD}"/>
          </ac:picMkLst>
        </pc:picChg>
        <pc:picChg chg="del">
          <ac:chgData name="Wolff, Constantin Aaron" userId="dddf5dec-b8d9-4157-833d-3fef5fd37ca5" providerId="ADAL" clId="{554FE398-CAFD-CD43-A5AB-0402D5E358B7}" dt="2023-04-29T16:50:33.449" v="1357" actId="478"/>
          <ac:picMkLst>
            <pc:docMk/>
            <pc:sldMk cId="946965297" sldId="410"/>
            <ac:picMk id="4" creationId="{88491E24-43FA-5EDB-C28A-918E323E3F7D}"/>
          </ac:picMkLst>
        </pc:picChg>
        <pc:picChg chg="del">
          <ac:chgData name="Wolff, Constantin Aaron" userId="dddf5dec-b8d9-4157-833d-3fef5fd37ca5" providerId="ADAL" clId="{554FE398-CAFD-CD43-A5AB-0402D5E358B7}" dt="2023-04-29T16:56:50.674" v="1365" actId="478"/>
          <ac:picMkLst>
            <pc:docMk/>
            <pc:sldMk cId="946965297" sldId="410"/>
            <ac:picMk id="6" creationId="{7872AE0F-6D5B-8C9A-1560-E6CA5244B028}"/>
          </ac:picMkLst>
        </pc:picChg>
        <pc:picChg chg="add mod">
          <ac:chgData name="Wolff, Constantin Aaron" userId="dddf5dec-b8d9-4157-833d-3fef5fd37ca5" providerId="ADAL" clId="{554FE398-CAFD-CD43-A5AB-0402D5E358B7}" dt="2023-04-29T16:50:29.953" v="1356" actId="1076"/>
          <ac:picMkLst>
            <pc:docMk/>
            <pc:sldMk cId="946965297" sldId="410"/>
            <ac:picMk id="7" creationId="{1543F1D3-E41F-033C-9F36-A61A56B032ED}"/>
          </ac:picMkLst>
        </pc:picChg>
        <pc:picChg chg="add mod">
          <ac:chgData name="Wolff, Constantin Aaron" userId="dddf5dec-b8d9-4157-833d-3fef5fd37ca5" providerId="ADAL" clId="{554FE398-CAFD-CD43-A5AB-0402D5E358B7}" dt="2023-04-29T16:56:45.079" v="1364" actId="1076"/>
          <ac:picMkLst>
            <pc:docMk/>
            <pc:sldMk cId="946965297" sldId="410"/>
            <ac:picMk id="8" creationId="{A1349E35-FF9C-B7E9-78CD-DDBB70E7097E}"/>
          </ac:picMkLst>
        </pc:picChg>
        <pc:picChg chg="add mod">
          <ac:chgData name="Wolff, Constantin Aaron" userId="dddf5dec-b8d9-4157-833d-3fef5fd37ca5" providerId="ADAL" clId="{554FE398-CAFD-CD43-A5AB-0402D5E358B7}" dt="2023-04-29T16:56:54.891" v="1367" actId="1076"/>
          <ac:picMkLst>
            <pc:docMk/>
            <pc:sldMk cId="946965297" sldId="410"/>
            <ac:picMk id="9" creationId="{80CA1A69-CB63-8BE3-D18F-9FB292679AAA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59:24.463" v="1407"/>
        <pc:sldMkLst>
          <pc:docMk/>
          <pc:sldMk cId="816426691" sldId="411"/>
        </pc:sldMkLst>
        <pc:spChg chg="add del mod">
          <ac:chgData name="Wolff, Constantin Aaron" userId="dddf5dec-b8d9-4157-833d-3fef5fd37ca5" providerId="ADAL" clId="{554FE398-CAFD-CD43-A5AB-0402D5E358B7}" dt="2023-04-29T16:59:23.502" v="1406" actId="478"/>
          <ac:spMkLst>
            <pc:docMk/>
            <pc:sldMk cId="816426691" sldId="411"/>
            <ac:spMk id="6" creationId="{BF7E020F-A811-10B4-C729-A74CFEB47C2E}"/>
          </ac:spMkLst>
        </pc:spChg>
        <pc:spChg chg="add mod">
          <ac:chgData name="Wolff, Constantin Aaron" userId="dddf5dec-b8d9-4157-833d-3fef5fd37ca5" providerId="ADAL" clId="{554FE398-CAFD-CD43-A5AB-0402D5E358B7}" dt="2023-04-29T16:59:24.463" v="1407"/>
          <ac:spMkLst>
            <pc:docMk/>
            <pc:sldMk cId="816426691" sldId="411"/>
            <ac:spMk id="10" creationId="{82B80068-562A-7F58-4098-8864B510A697}"/>
          </ac:spMkLst>
        </pc:spChg>
        <pc:spChg chg="del">
          <ac:chgData name="Wolff, Constantin Aaron" userId="dddf5dec-b8d9-4157-833d-3fef5fd37ca5" providerId="ADAL" clId="{554FE398-CAFD-CD43-A5AB-0402D5E358B7}" dt="2023-04-29T16:59:22.430" v="1405" actId="478"/>
          <ac:spMkLst>
            <pc:docMk/>
            <pc:sldMk cId="816426691" sldId="411"/>
            <ac:spMk id="17" creationId="{A2CF9E7C-F97B-9007-3352-44FD367BD6BF}"/>
          </ac:spMkLst>
        </pc:spChg>
        <pc:picChg chg="add mod">
          <ac:chgData name="Wolff, Constantin Aaron" userId="dddf5dec-b8d9-4157-833d-3fef5fd37ca5" providerId="ADAL" clId="{554FE398-CAFD-CD43-A5AB-0402D5E358B7}" dt="2023-04-29T16:57:23.370" v="1372" actId="1076"/>
          <ac:picMkLst>
            <pc:docMk/>
            <pc:sldMk cId="816426691" sldId="411"/>
            <ac:picMk id="3" creationId="{FAA6CBA5-6E98-BEEF-5BE7-E14DD5881137}"/>
          </ac:picMkLst>
        </pc:picChg>
        <pc:picChg chg="del">
          <ac:chgData name="Wolff, Constantin Aaron" userId="dddf5dec-b8d9-4157-833d-3fef5fd37ca5" providerId="ADAL" clId="{554FE398-CAFD-CD43-A5AB-0402D5E358B7}" dt="2023-04-29T16:57:15.651" v="1370" actId="478"/>
          <ac:picMkLst>
            <pc:docMk/>
            <pc:sldMk cId="816426691" sldId="411"/>
            <ac:picMk id="7" creationId="{1543F1D3-E41F-033C-9F36-A61A56B032ED}"/>
          </ac:picMkLst>
        </pc:picChg>
        <pc:picChg chg="del">
          <ac:chgData name="Wolff, Constantin Aaron" userId="dddf5dec-b8d9-4157-833d-3fef5fd37ca5" providerId="ADAL" clId="{554FE398-CAFD-CD43-A5AB-0402D5E358B7}" dt="2023-04-29T16:57:14.337" v="1369" actId="478"/>
          <ac:picMkLst>
            <pc:docMk/>
            <pc:sldMk cId="816426691" sldId="411"/>
            <ac:picMk id="8" creationId="{A1349E35-FF9C-B7E9-78CD-DDBB70E7097E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6:59:30.429" v="1410"/>
        <pc:sldMkLst>
          <pc:docMk/>
          <pc:sldMk cId="4011825160" sldId="412"/>
        </pc:sldMkLst>
        <pc:spChg chg="add del mod">
          <ac:chgData name="Wolff, Constantin Aaron" userId="dddf5dec-b8d9-4157-833d-3fef5fd37ca5" providerId="ADAL" clId="{554FE398-CAFD-CD43-A5AB-0402D5E358B7}" dt="2023-04-29T16:59:29.604" v="1409" actId="478"/>
          <ac:spMkLst>
            <pc:docMk/>
            <pc:sldMk cId="4011825160" sldId="412"/>
            <ac:spMk id="9" creationId="{C89BF261-50D2-30CD-60BD-8723FE6AF895}"/>
          </ac:spMkLst>
        </pc:spChg>
        <pc:spChg chg="del">
          <ac:chgData name="Wolff, Constantin Aaron" userId="dddf5dec-b8d9-4157-833d-3fef5fd37ca5" providerId="ADAL" clId="{554FE398-CAFD-CD43-A5AB-0402D5E358B7}" dt="2023-04-29T16:59:27.457" v="1408" actId="478"/>
          <ac:spMkLst>
            <pc:docMk/>
            <pc:sldMk cId="4011825160" sldId="412"/>
            <ac:spMk id="11" creationId="{A2CF9E7C-F97B-9007-3352-44FD367BD6BF}"/>
          </ac:spMkLst>
        </pc:spChg>
        <pc:spChg chg="add mod">
          <ac:chgData name="Wolff, Constantin Aaron" userId="dddf5dec-b8d9-4157-833d-3fef5fd37ca5" providerId="ADAL" clId="{554FE398-CAFD-CD43-A5AB-0402D5E358B7}" dt="2023-04-29T16:59:30.429" v="1410"/>
          <ac:spMkLst>
            <pc:docMk/>
            <pc:sldMk cId="4011825160" sldId="412"/>
            <ac:spMk id="12" creationId="{9D7F186F-E1F2-990B-C889-86C23378495B}"/>
          </ac:spMkLst>
        </pc:spChg>
        <pc:picChg chg="del">
          <ac:chgData name="Wolff, Constantin Aaron" userId="dddf5dec-b8d9-4157-833d-3fef5fd37ca5" providerId="ADAL" clId="{554FE398-CAFD-CD43-A5AB-0402D5E358B7}" dt="2023-04-29T16:57:44.093" v="1374" actId="478"/>
          <ac:picMkLst>
            <pc:docMk/>
            <pc:sldMk cId="4011825160" sldId="412"/>
            <ac:picMk id="3" creationId="{F828BDFA-2CED-32BF-6D18-2F0460A0226D}"/>
          </ac:picMkLst>
        </pc:picChg>
        <pc:picChg chg="del">
          <ac:chgData name="Wolff, Constantin Aaron" userId="dddf5dec-b8d9-4157-833d-3fef5fd37ca5" providerId="ADAL" clId="{554FE398-CAFD-CD43-A5AB-0402D5E358B7}" dt="2023-04-29T16:57:48.459" v="1376" actId="478"/>
          <ac:picMkLst>
            <pc:docMk/>
            <pc:sldMk cId="4011825160" sldId="412"/>
            <ac:picMk id="4" creationId="{EACEB64E-6205-544D-4226-7320A7CDA6EE}"/>
          </ac:picMkLst>
        </pc:picChg>
        <pc:picChg chg="add mod">
          <ac:chgData name="Wolff, Constantin Aaron" userId="dddf5dec-b8d9-4157-833d-3fef5fd37ca5" providerId="ADAL" clId="{554FE398-CAFD-CD43-A5AB-0402D5E358B7}" dt="2023-04-29T16:57:57.602" v="1379" actId="1076"/>
          <ac:picMkLst>
            <pc:docMk/>
            <pc:sldMk cId="4011825160" sldId="412"/>
            <ac:picMk id="6" creationId="{7D918792-CD74-84E9-5F7B-A431D3BC4FB3}"/>
          </ac:picMkLst>
        </pc:picChg>
        <pc:picChg chg="add mod">
          <ac:chgData name="Wolff, Constantin Aaron" userId="dddf5dec-b8d9-4157-833d-3fef5fd37ca5" providerId="ADAL" clId="{554FE398-CAFD-CD43-A5AB-0402D5E358B7}" dt="2023-04-29T16:58:08.181" v="1382" actId="1076"/>
          <ac:picMkLst>
            <pc:docMk/>
            <pc:sldMk cId="4011825160" sldId="412"/>
            <ac:picMk id="7" creationId="{63CE0D15-82CD-D8E8-9C2E-E05D965A4B7D}"/>
          </ac:picMkLst>
        </pc:picChg>
      </pc:sldChg>
      <pc:sldChg chg="addSp delSp modSp add mod">
        <pc:chgData name="Wolff, Constantin Aaron" userId="dddf5dec-b8d9-4157-833d-3fef5fd37ca5" providerId="ADAL" clId="{554FE398-CAFD-CD43-A5AB-0402D5E358B7}" dt="2023-04-29T17:01:39.818" v="1429" actId="20577"/>
        <pc:sldMkLst>
          <pc:docMk/>
          <pc:sldMk cId="2387305179" sldId="413"/>
        </pc:sldMkLst>
        <pc:spChg chg="mod">
          <ac:chgData name="Wolff, Constantin Aaron" userId="dddf5dec-b8d9-4157-833d-3fef5fd37ca5" providerId="ADAL" clId="{554FE398-CAFD-CD43-A5AB-0402D5E358B7}" dt="2023-04-29T17:01:39.818" v="1429" actId="20577"/>
          <ac:spMkLst>
            <pc:docMk/>
            <pc:sldMk cId="2387305179" sldId="413"/>
            <ac:spMk id="7" creationId="{7C315CE0-2C53-2CDA-651F-6D125EABA8D3}"/>
          </ac:spMkLst>
        </pc:spChg>
        <pc:spChg chg="add del mod">
          <ac:chgData name="Wolff, Constantin Aaron" userId="dddf5dec-b8d9-4157-833d-3fef5fd37ca5" providerId="ADAL" clId="{554FE398-CAFD-CD43-A5AB-0402D5E358B7}" dt="2023-04-29T17:01:27.354" v="1426" actId="478"/>
          <ac:spMkLst>
            <pc:docMk/>
            <pc:sldMk cId="2387305179" sldId="413"/>
            <ac:spMk id="9" creationId="{DC849CA5-8B50-BF46-9751-F8BE8C82DCE3}"/>
          </ac:spMkLst>
        </pc:spChg>
        <pc:spChg chg="del">
          <ac:chgData name="Wolff, Constantin Aaron" userId="dddf5dec-b8d9-4157-833d-3fef5fd37ca5" providerId="ADAL" clId="{554FE398-CAFD-CD43-A5AB-0402D5E358B7}" dt="2023-04-29T17:01:22.782" v="1425" actId="478"/>
          <ac:spMkLst>
            <pc:docMk/>
            <pc:sldMk cId="2387305179" sldId="413"/>
            <ac:spMk id="11" creationId="{00000000-0000-0000-0000-000000000000}"/>
          </ac:spMkLst>
        </pc:spChg>
        <pc:picChg chg="del">
          <ac:chgData name="Wolff, Constantin Aaron" userId="dddf5dec-b8d9-4157-833d-3fef5fd37ca5" providerId="ADAL" clId="{554FE398-CAFD-CD43-A5AB-0402D5E358B7}" dt="2023-04-29T17:01:20.426" v="1424" actId="478"/>
          <ac:picMkLst>
            <pc:docMk/>
            <pc:sldMk cId="2387305179" sldId="413"/>
            <ac:picMk id="2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65712-CC01-4EEB-96F7-64B7891CA6B4}" type="datetimeFigureOut">
              <a:rPr lang="de-DE" smtClean="0"/>
              <a:t>05.07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D9D30-8414-458A-8EC3-63F2EE293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5367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D9D30-8414-458A-8EC3-63F2EE29313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39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D9D30-8414-458A-8EC3-63F2EE29313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3615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D9D30-8414-458A-8EC3-63F2EE29313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661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B985E58-73E2-B29E-A012-2F63CE235319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33E72B6-CD3E-AC98-4643-9EE1A95560DD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5B4324-9483-AD08-A73D-10755027B2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3DD7CD-320F-0C40-8320-F1C3F4BB0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601" y="571499"/>
            <a:ext cx="4043702" cy="5713413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095E5C9-E920-0580-7ADC-22B0168C4F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9192" y="3999600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 marL="385200" indent="0" algn="ctr">
              <a:buNone/>
              <a:defRPr sz="1200"/>
            </a:lvl2pPr>
            <a:lvl3pPr marL="385200" indent="0" algn="ctr">
              <a:buNone/>
              <a:defRPr sz="1200"/>
            </a:lvl3pPr>
            <a:lvl4pPr marL="385200" indent="0" algn="ctr">
              <a:buNone/>
              <a:defRPr sz="1200"/>
            </a:lvl4pPr>
            <a:lvl5pPr marL="385200" indent="0" algn="ctr">
              <a:buNone/>
              <a:defRPr sz="1200"/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</p:spTree>
    <p:extLst>
      <p:ext uri="{BB962C8B-B14F-4D97-AF65-F5344CB8AC3E}">
        <p14:creationId xmlns:p14="http://schemas.microsoft.com/office/powerpoint/2010/main" val="14623500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404313-9EBD-E2E8-85A4-8658C545F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0125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635B3E-A170-D861-DC3E-F4A04609BD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79071E-0EC5-4614-9539-92CECCA887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2881E07-D74B-F675-3F24-47FC0C82607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7999" y="1670400"/>
            <a:ext cx="10162800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E9CBF8-FE5B-C246-9318-1600559A79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7" y="924815"/>
            <a:ext cx="9136800" cy="24622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8BC7A22-A92A-8C27-21AE-A5239F58F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D929626-B291-E201-0AE6-463AD95968F5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2109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FB8285-1706-99FE-D645-9A2B07024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6" y="500444"/>
            <a:ext cx="913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7D31DA-7307-1DFC-6137-0E1FDD72E5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4444CA-DD99-CF82-AB04-1386AEE9FD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EB13E3-E4B9-2614-DCF4-B0F8730D78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94F8CC4-A959-4D54-7030-B1D1EA892874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E78F271-951E-29F3-CA6E-C1A7AE4339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8000" y="1670400"/>
            <a:ext cx="4573650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9B1BE3FB-D9B5-0621-7697-E410DA22E5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96062" y="1670400"/>
            <a:ext cx="4575600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6B3E14-3F88-EBCF-C508-95387CF449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1200" y="925200"/>
            <a:ext cx="9136800" cy="244800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1415665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516" userDrawn="1">
          <p15:clr>
            <a:srgbClr val="FBAE40"/>
          </p15:clr>
        </p15:guide>
        <p15:guide id="2" pos="416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6F73E-DFC4-17D0-E185-4862E18CC5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98ECDE-FBC7-5149-B631-0EBAED7FBB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Untertitel">
            <a:extLst>
              <a:ext uri="{FF2B5EF4-FFF2-40B4-BE49-F238E27FC236}">
                <a16:creationId xmlns:a16="http://schemas.microsoft.com/office/drawing/2014/main" id="{5237F277-E0C0-66D9-AE88-3A6FD1CE04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1200" y="925200"/>
            <a:ext cx="9136063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2pPr>
            <a:lvl3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3pPr>
            <a:lvl4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4pPr>
            <a:lvl5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6AABEF3-8209-9E1E-0232-BBD06684FD9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8000" y="1670400"/>
            <a:ext cx="2702716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1346C2B8-C26F-81F0-727C-946A2609B0B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40627" y="1670400"/>
            <a:ext cx="2703600" cy="4038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B8C8072C-305B-3E46-CD43-19567F180A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64550" y="1670400"/>
            <a:ext cx="2703600" cy="4038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C1328C-169D-9D33-E81D-2257612635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D0C107BD-C3C5-3F7E-46E4-5E2702D0C34C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el 22">
            <a:extLst>
              <a:ext uri="{FF2B5EF4-FFF2-40B4-BE49-F238E27FC236}">
                <a16:creationId xmlns:a16="http://schemas.microsoft.com/office/drawing/2014/main" id="{30BA5C45-3B5A-B10D-5444-C0DFDB5185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42674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352" userDrawn="1">
          <p15:clr>
            <a:srgbClr val="FBAE40"/>
          </p15:clr>
        </p15:guide>
        <p15:guide id="2" pos="2986" userDrawn="1">
          <p15:clr>
            <a:srgbClr val="FBAE40"/>
          </p15:clr>
        </p15:guide>
        <p15:guide id="3" pos="4694" userDrawn="1">
          <p15:clr>
            <a:srgbClr val="FBAE40"/>
          </p15:clr>
        </p15:guide>
        <p15:guide id="4" pos="532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er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D99F4B-FBED-6C79-35C8-70A2B587BB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7588" y="1720394"/>
            <a:ext cx="2035175" cy="153198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F46460-6CF7-6006-523C-248D69ECD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06EABD-6B34-08FC-A53A-31E4B75308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5A39AC-B565-603B-F788-DF4DC1314F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5EBF49-362C-41B2-D79E-BFFBDFC73B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7588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9F55F8BD-FFD6-5394-E2A2-0BBAB3A2A4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3746" y="1720394"/>
            <a:ext cx="2035175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5AE3EF26-CF8A-C653-7EA5-B92FF0C2ED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9904" y="1720394"/>
            <a:ext cx="2035175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0BA58826-1951-E46E-DB68-3224162EB8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36062" y="1720394"/>
            <a:ext cx="2035175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9D7961-FFD7-348F-902B-D93F952E5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9FC299C-B82C-4B31-CB60-839938A8D8A2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0B3D105-9F14-D5A6-9933-9E01C366DE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8763" y="3611592"/>
            <a:ext cx="2034000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C1927BA1-7742-0897-C6DF-95CF2964DB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22400" y="3611592"/>
            <a:ext cx="2034000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0BBC978F-E89F-793F-BB70-92CAA989D2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29375" y="3611592"/>
            <a:ext cx="2034000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4AB36E7A-D7E8-0728-877B-8DD7CBFE9C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36062" y="3611592"/>
            <a:ext cx="2034000" cy="1533600"/>
          </a:xfrm>
        </p:spPr>
        <p:txBody>
          <a:bodyPr tIns="3384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439D542-CA4B-FE32-E7A5-D2369E83D2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22400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57E9B3F6-6713-EEA1-85FC-9975854033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7588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FEB9A5F2-71F6-772D-EE5C-521091D5BC5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29600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4EB44CED-85DA-2D20-B06D-675D398217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22400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5BD4ECCA-FC88-90CB-A5E0-6ABFE147CA5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37650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8C09F7CA-2A66-6759-084E-9F600D9EBF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7650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0BBB7F6-AF25-91C1-05CA-408BE7B0F8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9600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F20A98A4-7467-206D-E5B1-C72A2ED372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1200" y="925200"/>
            <a:ext cx="91368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385200" indent="0">
              <a:buNone/>
              <a:defRPr/>
            </a:lvl2pPr>
            <a:lvl3pPr marL="385200" indent="0">
              <a:buNone/>
              <a:defRPr/>
            </a:lvl3pPr>
            <a:lvl4pPr marL="385200" indent="0">
              <a:buNone/>
              <a:defRPr/>
            </a:lvl4pPr>
            <a:lvl5pPr marL="385200" indent="0">
              <a:buNone/>
              <a:defRPr/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29716402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91" userDrawn="1">
          <p15:clr>
            <a:srgbClr val="FBAE40"/>
          </p15:clr>
        </p15:guide>
        <p15:guide id="2" orient="horz" pos="2275" userDrawn="1">
          <p15:clr>
            <a:srgbClr val="FBAE40"/>
          </p15:clr>
        </p15:guide>
        <p15:guide id="3" pos="1923" userDrawn="1">
          <p15:clr>
            <a:srgbClr val="FBAE40"/>
          </p15:clr>
        </p15:guide>
        <p15:guide id="4" pos="2345" userDrawn="1">
          <p15:clr>
            <a:srgbClr val="FBAE40"/>
          </p15:clr>
        </p15:guide>
        <p15:guide id="5" pos="3630" userDrawn="1">
          <p15:clr>
            <a:srgbClr val="FBAE40"/>
          </p15:clr>
        </p15:guide>
        <p15:guide id="6" pos="4050" userDrawn="1">
          <p15:clr>
            <a:srgbClr val="FBAE40"/>
          </p15:clr>
        </p15:guide>
        <p15:guide id="7" pos="5756" userDrawn="1">
          <p15:clr>
            <a:srgbClr val="FBAE40"/>
          </p15:clr>
        </p15:guide>
        <p15:guide id="8" pos="533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rechts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1F45816-AC38-941C-8642-361448D9E08E}"/>
              </a:ext>
            </a:extLst>
          </p:cNvPr>
          <p:cNvSpPr/>
          <p:nvPr userDrawn="1"/>
        </p:nvSpPr>
        <p:spPr>
          <a:xfrm>
            <a:off x="8127600" y="0"/>
            <a:ext cx="4064400" cy="5140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3" name="Bildunterschrift">
            <a:extLst>
              <a:ext uri="{FF2B5EF4-FFF2-40B4-BE49-F238E27FC236}">
                <a16:creationId xmlns:a16="http://schemas.microsoft.com/office/drawing/2014/main" id="{A415EF6E-0026-A754-49CA-E277E90E3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0413" y="5709600"/>
            <a:ext cx="3816000" cy="579600"/>
          </a:xfrm>
        </p:spPr>
        <p:txBody>
          <a:bodyPr tIns="7200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A1CC353C-CB5B-30D8-8C25-FE71F3BEAF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587" y="925200"/>
            <a:ext cx="55980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2pPr>
            <a:lvl3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3pPr>
            <a:lvl4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4pPr>
            <a:lvl5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932425-FEBD-9789-5D35-A94FCAD78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5598000" cy="4032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F71FA-D2BD-AA21-68DB-C161FFF154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3FB9AE-9E6D-2D5B-59DC-A0CD80BD52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EE1888-55D2-A2C1-B138-27E69663A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DCBEDA2-04EF-A8FD-969E-7871337F52A1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5D49E70-CD68-24B1-5CE4-D810BC6BB8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8000" y="1670400"/>
            <a:ext cx="5097600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8CAACDC9-B304-1159-0AA3-F82B78F83F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10000" y="572400"/>
            <a:ext cx="4064400" cy="51408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12572649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rechts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unterschrift">
            <a:extLst>
              <a:ext uri="{FF2B5EF4-FFF2-40B4-BE49-F238E27FC236}">
                <a16:creationId xmlns:a16="http://schemas.microsoft.com/office/drawing/2014/main" id="{B83F5A42-09F3-8AF1-5DD8-4CEFA09823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08825" y="5709600"/>
            <a:ext cx="3816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12" name="Untertitel">
            <a:extLst>
              <a:ext uri="{FF2B5EF4-FFF2-40B4-BE49-F238E27FC236}">
                <a16:creationId xmlns:a16="http://schemas.microsoft.com/office/drawing/2014/main" id="{039E2D46-444D-DEB7-16B4-8DD4289BC4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588" y="925200"/>
            <a:ext cx="55980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2BF8A9-19BC-0FA9-FD6D-BF956E374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6" y="500444"/>
            <a:ext cx="5596425" cy="4032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326468-83EB-EE59-6697-DF5117A80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4DFD21-7A1F-0463-AB52-625787D590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A844017-E78D-22D5-CE5A-4028FC42F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A8359DE-EBE8-12FF-4096-36F458DFC4B2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46483FB-B1C7-609E-6E6D-11D1D6269B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7999" y="1670400"/>
            <a:ext cx="5098013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5468F84-C774-202E-E2EB-B60A78E28728}"/>
              </a:ext>
            </a:extLst>
          </p:cNvPr>
          <p:cNvSpPr/>
          <p:nvPr userDrawn="1"/>
        </p:nvSpPr>
        <p:spPr>
          <a:xfrm>
            <a:off x="8127600" y="0"/>
            <a:ext cx="4064400" cy="514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3CD094CC-FBA3-BAEB-D00B-1BECF6056F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08425" y="573676"/>
            <a:ext cx="4064400" cy="51408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2204176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2ECBB58-4B6E-4F5D-18E3-352178B5F108}"/>
              </a:ext>
            </a:extLst>
          </p:cNvPr>
          <p:cNvSpPr/>
          <p:nvPr userDrawn="1"/>
        </p:nvSpPr>
        <p:spPr>
          <a:xfrm>
            <a:off x="0" y="0"/>
            <a:ext cx="5083200" cy="5140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9" name="Bildunterschrift">
            <a:extLst>
              <a:ext uri="{FF2B5EF4-FFF2-40B4-BE49-F238E27FC236}">
                <a16:creationId xmlns:a16="http://schemas.microsoft.com/office/drawing/2014/main" id="{25DFDAC6-8A5B-9471-0A9F-54B22B6816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8800" y="5709600"/>
            <a:ext cx="3816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>
              <a:defRPr sz="10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89A7CE53-8F11-FE8E-6DDD-F7618B9749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8349" y="925200"/>
            <a:ext cx="40608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02359A7-1149-422C-69A8-37AE8B162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8376" y="500444"/>
            <a:ext cx="4060800" cy="4032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B2039F-5508-D28A-543C-318285DDF4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F4D526-92AA-2696-9886-0A80AC27DF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020E028-2D70-DDC8-A75B-AFC9FF0ECA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445B0F-D593-F908-CA3C-D9D7F1902A30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70A3D4C-8535-BE52-9416-AA35328A2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569913"/>
            <a:ext cx="5083200" cy="5140325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93E7FA6-31E7-59EE-A999-F09A5C8CB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8349" y="1670400"/>
            <a:ext cx="4060800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645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48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unterschrift">
            <a:extLst>
              <a:ext uri="{FF2B5EF4-FFF2-40B4-BE49-F238E27FC236}">
                <a16:creationId xmlns:a16="http://schemas.microsoft.com/office/drawing/2014/main" id="{6530243A-A0D6-B4C6-7331-2AE3B9106A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7588" y="5709600"/>
            <a:ext cx="3816000" cy="579600"/>
          </a:xfrm>
        </p:spPr>
        <p:txBody>
          <a:bodyPr tIns="72000"/>
          <a:lstStyle>
            <a:lvl1pPr marL="0" indent="0">
              <a:buFontTx/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1B023507-4C12-465C-5B67-55E082CDAA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6763" y="925200"/>
            <a:ext cx="40608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1C227B-9DE1-2AA8-305F-F16000F2C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7200" y="500444"/>
            <a:ext cx="4060800" cy="4032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AA31609-6C29-2EE0-85D3-7779176E4A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595691-1C8C-3479-AE37-1A310B8D86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ED1A4FE-7E6F-90B9-EAD8-684C0501EF8B}"/>
              </a:ext>
            </a:extLst>
          </p:cNvPr>
          <p:cNvSpPr/>
          <p:nvPr userDrawn="1"/>
        </p:nvSpPr>
        <p:spPr>
          <a:xfrm>
            <a:off x="0" y="0"/>
            <a:ext cx="5083200" cy="514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84715E-A26A-780C-58EF-A05AC3799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BE0523F-0317-1C66-75A2-1378C1883750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167AFAC5-E98C-D72F-C6F7-99426887E86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568800"/>
            <a:ext cx="5083200" cy="51408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1A18C4E-E9A0-5EC2-6917-6E116013FB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6763" y="1670400"/>
            <a:ext cx="4060800" cy="4039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40566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48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 mit Text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30D5BF-3468-766C-3E90-FB1A153A6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55F5D32-A15D-3AAE-C668-2E1E1314CC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01B3C6-DBC5-650E-5FB0-23AF99A00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A61836-94D7-E50E-9EA4-B37A153949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091E40B-CC10-5C7D-4E7E-B3B286DDC7D8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0755A324-2C07-E9DE-7C47-9D8A4E94468B}"/>
              </a:ext>
            </a:extLst>
          </p:cNvPr>
          <p:cNvSpPr/>
          <p:nvPr userDrawn="1"/>
        </p:nvSpPr>
        <p:spPr>
          <a:xfrm>
            <a:off x="0" y="2855438"/>
            <a:ext cx="12192000" cy="2854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7297243-B4C9-835C-E79E-1D8C330F66F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17136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9BD6CE4-05EB-0F7B-1287-47FFE26DB3F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05450" y="17136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EE08FEE-65AA-E28D-7EB6-D029D22C8F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7588" y="3998913"/>
            <a:ext cx="4064000" cy="1710000"/>
          </a:xfrm>
        </p:spPr>
        <p:txBody>
          <a:bodyPr tIns="252000" bIns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95F1686-D325-2423-FADF-0BAF4FD75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05650" y="3998913"/>
            <a:ext cx="4064000" cy="1710000"/>
          </a:xfrm>
        </p:spPr>
        <p:txBody>
          <a:bodyPr tIns="252000" bIns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A5A56BAE-7B11-AC1C-3E73-01405A2D2F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200" y="925200"/>
            <a:ext cx="9136063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31078794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204" userDrawn="1">
          <p15:clr>
            <a:srgbClr val="FBAE40"/>
          </p15:clr>
        </p15:guide>
        <p15:guide id="2" pos="447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 mit Text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B95AC-787E-6570-9EBA-924258A1D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800" cy="4032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147418-A1B9-1522-B5DD-23600759D8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9F59FB-6202-5E64-A2B0-EB61D68F5B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C100A0F-82DE-2E25-04E4-6D053E95B4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B5FAE4B-A6D4-085D-6A3E-98BD8F7168E9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F26FF4B2-E32A-687D-93AC-BF8340CE86C6}"/>
              </a:ext>
            </a:extLst>
          </p:cNvPr>
          <p:cNvSpPr/>
          <p:nvPr userDrawn="1"/>
        </p:nvSpPr>
        <p:spPr>
          <a:xfrm>
            <a:off x="0" y="2855438"/>
            <a:ext cx="12192000" cy="2854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19DB8161-E57B-D485-9EF0-C746E1D1E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17145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7ED89A1-EDBC-802D-3495-BE63017FA4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06839" y="17145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3E6423B-C2C1-C316-7151-5D81468FEE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7588" y="4000369"/>
            <a:ext cx="4064000" cy="1709738"/>
          </a:xfrm>
        </p:spPr>
        <p:txBody>
          <a:bodyPr tIns="252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45A965B-A019-AA22-2301-6A2C1C3633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07238" y="4000369"/>
            <a:ext cx="4065587" cy="1710000"/>
          </a:xfrm>
        </p:spPr>
        <p:txBody>
          <a:bodyPr tIns="252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28712D-955C-CC61-9526-1E97E44BD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200" y="925200"/>
            <a:ext cx="9136063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138766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476" userDrawn="1">
          <p15:clr>
            <a:srgbClr val="FBAE40"/>
          </p15:clr>
        </p15:guide>
        <p15:guide id="2" pos="320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0571E57-C458-55AD-34AF-B33955A2430E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0A57A1D-B3B0-3969-AC3D-731633954FBC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8D16AE1-35A6-C2DD-949A-525C68981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A93F957-EFA0-B9BA-15DE-03D8D4868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600" y="3430800"/>
            <a:ext cx="6850400" cy="2854112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823D32A-F323-5163-FE79-469CF35E8F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052763" y="571500"/>
            <a:ext cx="8120062" cy="28575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en Sie Ihr Bild einfügen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48CA5AF-CEDE-3E1B-57D8-4973FFB367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8275" y="3427200"/>
            <a:ext cx="3024000" cy="378000"/>
          </a:xfrm>
          <a:solidFill>
            <a:schemeClr val="accent1"/>
          </a:solidFill>
        </p:spPr>
        <p:txBody>
          <a:bodyPr lIns="108000" tIns="3600" rIns="90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Rubrik (einzeilig, max. 32 Zeichen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1402C4B-8E48-A60C-F353-2071129B4D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3999600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 marL="385200" indent="0" algn="ctr">
              <a:buNone/>
              <a:defRPr sz="1200"/>
            </a:lvl2pPr>
            <a:lvl3pPr marL="385200" indent="0" algn="ctr">
              <a:buNone/>
              <a:defRPr sz="1200"/>
            </a:lvl3pPr>
            <a:lvl4pPr marL="385200" indent="0" algn="ctr">
              <a:buNone/>
              <a:defRPr sz="1200"/>
            </a:lvl4pPr>
            <a:lvl5pPr marL="385200" indent="0" algn="ctr">
              <a:buNone/>
              <a:defRPr sz="1200"/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</p:spTree>
    <p:extLst>
      <p:ext uri="{BB962C8B-B14F-4D97-AF65-F5344CB8AC3E}">
        <p14:creationId xmlns:p14="http://schemas.microsoft.com/office/powerpoint/2010/main" val="2523187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dunkel - Tex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ED52C9D-87C8-011B-E56D-51D5C50B391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en Sie Ihr großformatiges Bild einfügen. </a:t>
            </a:r>
            <a:br>
              <a:rPr lang="de-DE" dirty="0"/>
            </a:br>
            <a:r>
              <a:rPr lang="de-DE" dirty="0"/>
              <a:t>Bitte achten Sie auf einen ausreichenden Farbkontrast bzw. ein harmonisches Zusammenspiel mit der Fußzeile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241DB3A-6DE5-F033-FEE8-41F3896BC3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B63763-DE9D-6D38-AC3B-4B4CC07EC0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DCB682A-2009-9235-F971-D6E915E4E6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AF581E7A-B35D-5EC1-B852-434FA1E7DC23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38395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ell vollflächig - Text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BBA00DF-2000-4C26-A9C5-C7DCDBB9F8C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großformatiges Bild einfügen. </a:t>
            </a:r>
            <a:br>
              <a:rPr lang="de-DE" dirty="0"/>
            </a:br>
            <a:r>
              <a:rPr lang="de-DE" dirty="0"/>
              <a:t>Bitte achten Sie auf einen ausreichenden Farbkontrast bzw. ein harmonisches Zusammenspiel mit der Fußzeile.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0DBC79A-7CBB-10CE-2C3C-FD05E64850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46FDE8-A2B6-316B-1469-0EEC7555C6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A8951-1200-D0E7-5F8E-2C10B57D7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5938C14-2DEC-82A2-7695-24571C7D5D8E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745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27018-D557-3C79-D1EA-D1294A0AD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FCA897-0E45-4EFB-1E77-AEBED04C2B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D94C2AB-ECEC-E542-B222-D9C6BD9A43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B46E80D-8C7E-12BE-E6D4-002699C55689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826F5AFC-CA37-5E0B-FCB1-E613AB3E5F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35969" y="1723680"/>
            <a:ext cx="478534" cy="349200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D2C1F7-0409-E8C8-F128-0615B1F2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5969" y="1714500"/>
            <a:ext cx="8120062" cy="3995737"/>
          </a:xfrm>
        </p:spPr>
        <p:txBody>
          <a:bodyPr tIns="576000" rIns="0" anchor="t"/>
          <a:lstStyle>
            <a:lvl1pPr marL="0" indent="0">
              <a:spcAft>
                <a:spcPts val="2200"/>
              </a:spcAft>
              <a:buNone/>
              <a:defRPr sz="3200"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de-DE" dirty="0"/>
              <a:t>Ein längeres Zitat. (max. 200 Zeich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924167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62" userDrawn="1">
          <p15:clr>
            <a:srgbClr val="FBAE40"/>
          </p15:clr>
        </p15:guide>
        <p15:guide id="2" pos="1282" userDrawn="1">
          <p15:clr>
            <a:srgbClr val="FBAE40"/>
          </p15:clr>
        </p15:guide>
        <p15:guide id="3" pos="639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EC8225-D3C6-D2CF-36B3-EDB4A6C840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9C7943-986D-598F-5ABF-0796079E1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unterschrift links">
            <a:extLst>
              <a:ext uri="{FF2B5EF4-FFF2-40B4-BE49-F238E27FC236}">
                <a16:creationId xmlns:a16="http://schemas.microsoft.com/office/drawing/2014/main" id="{F5EF10FB-FF64-F494-0F12-214A17E74D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7588" y="4568400"/>
            <a:ext cx="4464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>
              <a:defRPr sz="10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Optional: Bildunterzeile und/oder Quelle. </a:t>
            </a:r>
          </a:p>
        </p:txBody>
      </p:sp>
      <p:sp>
        <p:nvSpPr>
          <p:cNvPr id="6" name="Zitat rechts">
            <a:extLst>
              <a:ext uri="{FF2B5EF4-FFF2-40B4-BE49-F238E27FC236}">
                <a16:creationId xmlns:a16="http://schemas.microsoft.com/office/drawing/2014/main" id="{9A610B8F-52F5-CF16-D4FA-31837E4AB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4800" y="1714500"/>
            <a:ext cx="5076000" cy="4572000"/>
          </a:xfrm>
        </p:spPr>
        <p:txBody>
          <a:bodyPr tIns="576000"/>
          <a:lstStyle>
            <a:lvl1pPr marL="0" indent="0">
              <a:spcAft>
                <a:spcPts val="2200"/>
              </a:spcAft>
              <a:buNone/>
              <a:defRPr sz="3200"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07D0E9-6FBC-33E2-267F-7C3A99A53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CB66DCF-A25C-6162-B9A7-4F80B9BB1B76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60A537C2-A37C-32D3-0B21-5CAD494B56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9734" y="1723680"/>
            <a:ext cx="478534" cy="34920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80238563-4251-CCDC-2832-70054B412A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4800" cy="4568400"/>
          </a:xfrm>
          <a:custGeom>
            <a:avLst/>
            <a:gdLst>
              <a:gd name="connsiteX0" fmla="*/ 0 w 6094800"/>
              <a:gd name="connsiteY0" fmla="*/ 0 h 4568400"/>
              <a:gd name="connsiteX1" fmla="*/ 6094800 w 6094800"/>
              <a:gd name="connsiteY1" fmla="*/ 0 h 4568400"/>
              <a:gd name="connsiteX2" fmla="*/ 6094800 w 6094800"/>
              <a:gd name="connsiteY2" fmla="*/ 1145905 h 4568400"/>
              <a:gd name="connsiteX3" fmla="*/ 5588461 w 6094800"/>
              <a:gd name="connsiteY3" fmla="*/ 1145905 h 4568400"/>
              <a:gd name="connsiteX4" fmla="*/ 5588461 w 6094800"/>
              <a:gd name="connsiteY4" fmla="*/ 4568400 h 4568400"/>
              <a:gd name="connsiteX5" fmla="*/ 0 w 6094800"/>
              <a:gd name="connsiteY5" fmla="*/ 4568400 h 45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4800" h="4568400">
                <a:moveTo>
                  <a:pt x="0" y="0"/>
                </a:moveTo>
                <a:lnTo>
                  <a:pt x="6094800" y="0"/>
                </a:lnTo>
                <a:lnTo>
                  <a:pt x="6094800" y="1145905"/>
                </a:lnTo>
                <a:lnTo>
                  <a:pt x="5588461" y="1145905"/>
                </a:lnTo>
                <a:lnTo>
                  <a:pt x="5588461" y="4568400"/>
                </a:lnTo>
                <a:lnTo>
                  <a:pt x="0" y="45684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32034810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 -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B2F91D-8241-4D3C-C26B-A83C3C6522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F42F20-F06C-0343-0BB9-FEA75E9F5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unterschrift links">
            <a:extLst>
              <a:ext uri="{FF2B5EF4-FFF2-40B4-BE49-F238E27FC236}">
                <a16:creationId xmlns:a16="http://schemas.microsoft.com/office/drawing/2014/main" id="{3E89E347-2C1B-858E-9984-451FF1694B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8800" y="4568400"/>
            <a:ext cx="4464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ptional: Bildunterzeile und/oder Quelle. </a:t>
            </a:r>
          </a:p>
        </p:txBody>
      </p:sp>
      <p:sp>
        <p:nvSpPr>
          <p:cNvPr id="6" name="Zitat rechts">
            <a:extLst>
              <a:ext uri="{FF2B5EF4-FFF2-40B4-BE49-F238E27FC236}">
                <a16:creationId xmlns:a16="http://schemas.microsoft.com/office/drawing/2014/main" id="{C1D4E14F-DCC6-FF5E-8F43-2EA345A037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713600"/>
            <a:ext cx="5076000" cy="4572000"/>
          </a:xfrm>
        </p:spPr>
        <p:txBody>
          <a:bodyPr tIns="576000"/>
          <a:lstStyle>
            <a:lvl1pPr marL="0" indent="0">
              <a:spcAft>
                <a:spcPts val="2200"/>
              </a:spcAft>
              <a:buNone/>
              <a:defRPr sz="3200"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F1BAF51-5DF7-97FD-EDE4-EC34051DC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C00BC6E-95B8-88CD-5F8E-3CC20B06E5C3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BDFF4DC6-07C7-1045-F431-5EC8EDE8CF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9734" y="1723680"/>
            <a:ext cx="478534" cy="34920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83B521FA-D1BF-CDE7-CD6D-E751D5FA5B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4800" cy="4568400"/>
          </a:xfrm>
          <a:custGeom>
            <a:avLst/>
            <a:gdLst>
              <a:gd name="connsiteX0" fmla="*/ 0 w 6094800"/>
              <a:gd name="connsiteY0" fmla="*/ 0 h 4568400"/>
              <a:gd name="connsiteX1" fmla="*/ 6094800 w 6094800"/>
              <a:gd name="connsiteY1" fmla="*/ 0 h 4568400"/>
              <a:gd name="connsiteX2" fmla="*/ 6094800 w 6094800"/>
              <a:gd name="connsiteY2" fmla="*/ 1145905 h 4568400"/>
              <a:gd name="connsiteX3" fmla="*/ 5588461 w 6094800"/>
              <a:gd name="connsiteY3" fmla="*/ 1145905 h 4568400"/>
              <a:gd name="connsiteX4" fmla="*/ 5588461 w 6094800"/>
              <a:gd name="connsiteY4" fmla="*/ 4568400 h 4568400"/>
              <a:gd name="connsiteX5" fmla="*/ 0 w 6094800"/>
              <a:gd name="connsiteY5" fmla="*/ 4568400 h 45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4800" h="4568400">
                <a:moveTo>
                  <a:pt x="0" y="0"/>
                </a:moveTo>
                <a:lnTo>
                  <a:pt x="6094800" y="0"/>
                </a:lnTo>
                <a:lnTo>
                  <a:pt x="6094800" y="1145905"/>
                </a:lnTo>
                <a:lnTo>
                  <a:pt x="5588461" y="1145905"/>
                </a:lnTo>
                <a:lnTo>
                  <a:pt x="5588461" y="4568400"/>
                </a:lnTo>
                <a:lnTo>
                  <a:pt x="0" y="45684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16090130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E471F9-D6D3-0FAE-0195-B99091D212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7DE233-0890-3C93-8D23-0FC49F53F7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unterschrift links">
            <a:extLst>
              <a:ext uri="{FF2B5EF4-FFF2-40B4-BE49-F238E27FC236}">
                <a16:creationId xmlns:a16="http://schemas.microsoft.com/office/drawing/2014/main" id="{81389CBD-C4DC-2153-941A-05FA4F502E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7587" y="4568400"/>
            <a:ext cx="4464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385200" indent="0">
              <a:buNone/>
              <a:defRPr sz="1000">
                <a:solidFill>
                  <a:schemeClr val="bg1"/>
                </a:solidFill>
              </a:defRPr>
            </a:lvl2pPr>
            <a:lvl3pPr marL="385200" indent="0">
              <a:buNone/>
              <a:defRPr sz="1000">
                <a:solidFill>
                  <a:schemeClr val="bg1"/>
                </a:solidFill>
              </a:defRPr>
            </a:lvl3pPr>
            <a:lvl4pPr marL="385200" indent="0">
              <a:buNone/>
              <a:defRPr sz="1000">
                <a:solidFill>
                  <a:schemeClr val="bg1"/>
                </a:solidFill>
              </a:defRPr>
            </a:lvl4pPr>
            <a:lvl5pPr marL="3852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Bildunterzeile und/oder Quelle. </a:t>
            </a:r>
          </a:p>
        </p:txBody>
      </p:sp>
      <p:sp>
        <p:nvSpPr>
          <p:cNvPr id="6" name="Zitat rechts">
            <a:extLst>
              <a:ext uri="{FF2B5EF4-FFF2-40B4-BE49-F238E27FC236}">
                <a16:creationId xmlns:a16="http://schemas.microsoft.com/office/drawing/2014/main" id="{09A741AB-DDB3-E465-B84E-7E5FCC563D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9" y="1714500"/>
            <a:ext cx="5076000" cy="4572000"/>
          </a:xfrm>
        </p:spPr>
        <p:txBody>
          <a:bodyPr tIns="576000"/>
          <a:lstStyle>
            <a:lvl1pPr marL="0" indent="0">
              <a:spcAft>
                <a:spcPts val="2200"/>
              </a:spcAft>
              <a:buNone/>
              <a:defRPr sz="3200">
                <a:solidFill>
                  <a:schemeClr val="bg1"/>
                </a:solidFill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16928C1-93F3-55BA-09E6-176D312911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D22A1-6E28-2916-D633-DFA8E06A2222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16AF9A60-7CB2-553B-D1C0-A2AA28E5832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9734" y="1723680"/>
            <a:ext cx="478534" cy="34920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FDDC698-A9C4-96B3-CCB5-572D335078B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4800" cy="4568400"/>
          </a:xfrm>
          <a:custGeom>
            <a:avLst/>
            <a:gdLst>
              <a:gd name="connsiteX0" fmla="*/ 0 w 6094800"/>
              <a:gd name="connsiteY0" fmla="*/ 0 h 4568400"/>
              <a:gd name="connsiteX1" fmla="*/ 6094800 w 6094800"/>
              <a:gd name="connsiteY1" fmla="*/ 0 h 4568400"/>
              <a:gd name="connsiteX2" fmla="*/ 6094800 w 6094800"/>
              <a:gd name="connsiteY2" fmla="*/ 1145905 h 4568400"/>
              <a:gd name="connsiteX3" fmla="*/ 5588461 w 6094800"/>
              <a:gd name="connsiteY3" fmla="*/ 1145905 h 4568400"/>
              <a:gd name="connsiteX4" fmla="*/ 5588461 w 6094800"/>
              <a:gd name="connsiteY4" fmla="*/ 4568400 h 4568400"/>
              <a:gd name="connsiteX5" fmla="*/ 0 w 6094800"/>
              <a:gd name="connsiteY5" fmla="*/ 4568400 h 45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4800" h="4568400">
                <a:moveTo>
                  <a:pt x="0" y="0"/>
                </a:moveTo>
                <a:lnTo>
                  <a:pt x="6094800" y="0"/>
                </a:lnTo>
                <a:lnTo>
                  <a:pt x="6094800" y="1145905"/>
                </a:lnTo>
                <a:lnTo>
                  <a:pt x="5588461" y="1145905"/>
                </a:lnTo>
                <a:lnTo>
                  <a:pt x="5588461" y="4568400"/>
                </a:lnTo>
                <a:lnTo>
                  <a:pt x="0" y="45684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2660683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C04AA9-04B0-AE4F-13DB-3A460177E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30887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6CCC65-D01A-D53B-C4CF-41199E8BC3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94FAAF-D2FB-F3B8-D7AC-023718855E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3DD1D29-CC10-0823-A03C-3201D85697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E8DEE0A-8885-8A93-BA9E-31F3F31BF967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E9EF90-76A7-EF76-AD7B-1001EEA78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925200"/>
            <a:ext cx="9136062" cy="2448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2746966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519" userDrawn="1">
          <p15:clr>
            <a:srgbClr val="FBAE40"/>
          </p15:clr>
        </p15:guide>
        <p15:guide id="2" pos="4158" userDrawn="1">
          <p15:clr>
            <a:srgbClr val="FBAE40"/>
          </p15:clr>
        </p15:guide>
        <p15:guide id="3" pos="2559" userDrawn="1">
          <p15:clr>
            <a:srgbClr val="FBAE40"/>
          </p15:clr>
        </p15:guide>
        <p15:guide id="4" pos="2880" userDrawn="1">
          <p15:clr>
            <a:srgbClr val="FBAE40"/>
          </p15:clr>
        </p15:guide>
        <p15:guide id="5" pos="4800" userDrawn="1">
          <p15:clr>
            <a:srgbClr val="FBAE40"/>
          </p15:clr>
        </p15:guide>
        <p15:guide id="6" pos="512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1587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Titelplatzhalter 7"/>
          <p:cNvSpPr>
            <a:spLocks noGrp="1"/>
          </p:cNvSpPr>
          <p:nvPr>
            <p:ph type="title"/>
          </p:nvPr>
        </p:nvSpPr>
        <p:spPr>
          <a:xfrm>
            <a:off x="0" y="62519"/>
            <a:ext cx="12192000" cy="561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029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855FC450-CD34-DEE9-370E-65BEC309F95B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47A77F4-73B3-E7E5-A5F5-29BD29C11B5F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BA88333-F35F-A682-4E4D-FF3A78AAF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E102CB0-FCED-9F61-3872-C4A5486624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19650" y="571500"/>
            <a:ext cx="3052800" cy="5713413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CD8D707-9637-3F2E-E607-A42376E44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2352" y="3429000"/>
            <a:ext cx="3024111" cy="2855912"/>
          </a:xfrm>
        </p:spPr>
        <p:txBody>
          <a:bodyPr anchor="ctr"/>
          <a:lstStyle>
            <a:lvl1pPr>
              <a:spcAft>
                <a:spcPts val="1200"/>
              </a:spcAft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D177B2F-68C9-2898-8703-A92B47DA6D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4000500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966FAA7-9334-DDA4-5182-77704DDCB2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1252" y="3431378"/>
            <a:ext cx="3024000" cy="378000"/>
          </a:xfrm>
          <a:solidFill>
            <a:schemeClr val="accent1"/>
          </a:solidFill>
        </p:spPr>
        <p:txBody>
          <a:bodyPr lIns="108000" tIns="3600" rIns="90000" anchor="ctr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385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385200" indent="0">
              <a:buFontTx/>
              <a:buNone/>
              <a:defRPr>
                <a:solidFill>
                  <a:schemeClr val="bg1"/>
                </a:solidFill>
              </a:defRPr>
            </a:lvl3pPr>
            <a:lvl4pPr marL="385200" indent="0">
              <a:buFontTx/>
              <a:buNone/>
              <a:defRPr>
                <a:solidFill>
                  <a:schemeClr val="bg1"/>
                </a:solidFill>
              </a:defRPr>
            </a:lvl4pPr>
            <a:lvl5pPr marL="3852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Rubrik (einzeilig, max. 32 Zeichen)</a:t>
            </a:r>
          </a:p>
        </p:txBody>
      </p:sp>
    </p:spTree>
    <p:extLst>
      <p:ext uri="{BB962C8B-B14F-4D97-AF65-F5344CB8AC3E}">
        <p14:creationId xmlns:p14="http://schemas.microsoft.com/office/powerpoint/2010/main" val="547745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ECB30C2-EF93-3E6F-378A-1A690BDC7B33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32ABF63-E2BC-8509-C80F-4F329E0273CD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7F0B71-AB37-1720-1B52-052F95B6B7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A60F7D6-1489-B722-33B9-4CA3028AC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8063" y="571500"/>
            <a:ext cx="2035175" cy="5713412"/>
          </a:xfrm>
        </p:spPr>
        <p:txBody>
          <a:bodyPr anchor="ctr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15BF2A7-A61F-D256-E994-4C92580C3FE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052799" y="571500"/>
            <a:ext cx="5065678" cy="5713413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1A0859E-A676-619D-977F-F2FD7F0E74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3998912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85200" indent="0">
              <a:buNone/>
              <a:defRPr>
                <a:solidFill>
                  <a:schemeClr val="bg1"/>
                </a:solidFill>
              </a:defRPr>
            </a:lvl2pPr>
            <a:lvl3pPr marL="385200" indent="0">
              <a:buNone/>
              <a:defRPr>
                <a:solidFill>
                  <a:schemeClr val="bg1"/>
                </a:solidFill>
              </a:defRPr>
            </a:lvl3pPr>
            <a:lvl4pPr marL="385200" indent="0">
              <a:buNone/>
              <a:defRPr>
                <a:solidFill>
                  <a:schemeClr val="bg1"/>
                </a:solidFill>
              </a:defRPr>
            </a:lvl4pPr>
            <a:lvl5pPr marL="385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</p:spTree>
    <p:extLst>
      <p:ext uri="{BB962C8B-B14F-4D97-AF65-F5344CB8AC3E}">
        <p14:creationId xmlns:p14="http://schemas.microsoft.com/office/powerpoint/2010/main" val="4241495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4AC106-BDF8-CEF1-825B-31168B6A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03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9C24AF-B323-63B9-86B5-95311227C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0FF830B-A89E-83C7-F82C-1285D4A79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17587" y="1645284"/>
            <a:ext cx="10162800" cy="4064953"/>
          </a:xfrm>
        </p:spPr>
        <p:txBody>
          <a:bodyPr/>
          <a:lstStyle>
            <a:lvl1pPr marL="450000" indent="-450000">
              <a:spcAft>
                <a:spcPts val="300"/>
              </a:spcAft>
              <a:buFont typeface="+mj-lt"/>
              <a:buAutoNum type="arabicPeriod"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688E9D4-0B6A-B7EA-B556-04FDB5E33C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7667763-4FCA-0EAC-9EC9-2D2373BD29E4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5E98871-4032-17EC-C264-14142C58E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7482" y="6307118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DE" smtClean="0"/>
              <a:t>AG Halbrit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4216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/ohne Bild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EE0B59F-0FAC-80E7-32C9-883237D688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250" y="0"/>
            <a:ext cx="508575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en Sie Ihr Bild ein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BC21B9-442B-0912-1EE9-5FE643155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588" y="571500"/>
            <a:ext cx="5063738" cy="5713413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129527-14BD-A777-C594-8C13A08325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EE59A9-B79C-3969-3C29-CE75F90DEC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585625E-3B01-AE03-E943-5A9E05062F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B39C79-EFB8-2529-AEEC-B828C9E388D6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958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Zahl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0BBB59-C568-54F2-A825-AF50E3A6E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563" y="1143000"/>
            <a:ext cx="5076000" cy="4567238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9E999E-1123-5A84-ECEE-64199D8FD7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ADF842-CEC7-2322-A24D-3B4054F244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A13041B-000C-8F57-1585-DD8DF10A23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DC96E62-9AC0-0025-4FCC-C7F0D58E0BAF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0F88E3C-5B38-45B1-089B-E1E0944D9D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4350" y="1143000"/>
            <a:ext cx="2610000" cy="4567238"/>
          </a:xfrm>
        </p:spPr>
        <p:txBody>
          <a:bodyPr anchor="ctr"/>
          <a:lstStyle>
            <a:lvl1pPr marL="0" indent="0">
              <a:buNone/>
              <a:defRPr sz="20000">
                <a:solidFill>
                  <a:schemeClr val="accent1"/>
                </a:solidFill>
                <a:latin typeface="+mj-lt"/>
              </a:defRPr>
            </a:lvl1pPr>
            <a:lvl2pPr marL="385200" indent="0">
              <a:buNone/>
              <a:defRPr>
                <a:latin typeface="+mj-lt"/>
              </a:defRPr>
            </a:lvl2pPr>
            <a:lvl3pPr marL="385200" indent="0">
              <a:buNone/>
              <a:defRPr>
                <a:latin typeface="+mj-lt"/>
              </a:defRPr>
            </a:lvl3pPr>
            <a:lvl4pPr marL="385200" indent="0">
              <a:buNone/>
              <a:defRPr>
                <a:latin typeface="+mj-lt"/>
              </a:defRPr>
            </a:lvl4pPr>
            <a:lvl5pPr marL="385200" indent="0">
              <a:buNone/>
              <a:defRPr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5502701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/ohne Bild -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7D6B1EF7-ECF9-9550-1571-9474A39D476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400" y="-1"/>
            <a:ext cx="5086800" cy="6858000"/>
          </a:xfrm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73B435A-F0F0-AAFB-0962-287FB85E7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587" y="572400"/>
            <a:ext cx="5065200" cy="5713200"/>
          </a:xfrm>
        </p:spPr>
        <p:txBody>
          <a:bodyPr anchor="ctr" anchorCtr="0"/>
          <a:lstStyle>
            <a:lvl1pPr>
              <a:defRPr sz="3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1A3048-6CA2-FE11-2BAD-29A0D740D4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55697A-12F7-8A29-4803-AF33FA8F89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6258C0-1E6D-4F80-59BE-DE6DBDE760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4D3E934-A56D-B0A0-0E43-1E93832657CB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038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Zahl -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8913EB-0869-8FD7-818F-656297B8F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400" y="1144800"/>
            <a:ext cx="5076000" cy="4568400"/>
          </a:xfrm>
        </p:spPr>
        <p:txBody>
          <a:bodyPr anchor="ctr"/>
          <a:lstStyle>
            <a:lvl1pPr>
              <a:defRPr sz="3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7B67A2-DD47-6A0F-FE01-8B18655C6F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40F636-3411-DCFD-8E89-ED4AD0B6CB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AA42F60-AD05-FFA0-A537-C9FE91C84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A283EBF-73AE-3B48-9E1D-066BAD3BB183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F456E4-C710-EE0F-D3F1-B36709FBDC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4800" y="1144800"/>
            <a:ext cx="2610000" cy="4568400"/>
          </a:xfrm>
        </p:spPr>
        <p:txBody>
          <a:bodyPr anchor="ctr"/>
          <a:lstStyle>
            <a:lvl1pPr marL="0" indent="0">
              <a:buNone/>
              <a:defRPr sz="20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86520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C933E9F-246A-3950-07DD-35A1C54B8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2E2EBD-5537-B338-9CF2-90BF2C079D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8857" y="1671208"/>
            <a:ext cx="10163968" cy="4039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E98871-4032-17EC-C264-14142C58E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7482" y="6307118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46978B-5C2C-8DFA-E992-1FFC3EBAB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1596" y="6307200"/>
            <a:ext cx="27432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5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4513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6" r:id="rId3"/>
    <p:sldLayoutId id="2147483689" r:id="rId4"/>
    <p:sldLayoutId id="2147483676" r:id="rId5"/>
    <p:sldLayoutId id="2147483679" r:id="rId6"/>
    <p:sldLayoutId id="2147483680" r:id="rId7"/>
    <p:sldLayoutId id="2147483690" r:id="rId8"/>
    <p:sldLayoutId id="2147483691" r:id="rId9"/>
    <p:sldLayoutId id="2147483674" r:id="rId10"/>
    <p:sldLayoutId id="2147483681" r:id="rId11"/>
    <p:sldLayoutId id="2147483704" r:id="rId12"/>
    <p:sldLayoutId id="2147483692" r:id="rId13"/>
    <p:sldLayoutId id="2147483693" r:id="rId14"/>
    <p:sldLayoutId id="2147483682" r:id="rId15"/>
    <p:sldLayoutId id="2147483694" r:id="rId16"/>
    <p:sldLayoutId id="2147483695" r:id="rId17"/>
    <p:sldLayoutId id="2147483696" r:id="rId18"/>
    <p:sldLayoutId id="2147483683" r:id="rId19"/>
    <p:sldLayoutId id="2147483697" r:id="rId20"/>
    <p:sldLayoutId id="2147483684" r:id="rId21"/>
    <p:sldLayoutId id="2147483698" r:id="rId22"/>
    <p:sldLayoutId id="2147483701" r:id="rId23"/>
    <p:sldLayoutId id="2147483703" r:id="rId24"/>
    <p:sldLayoutId id="2147483702" r:id="rId25"/>
    <p:sldLayoutId id="2147483677" r:id="rId26"/>
    <p:sldLayoutId id="2147483705" r:id="rId2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90000"/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4" pos="320" userDrawn="1">
          <p15:clr>
            <a:srgbClr val="F26B43"/>
          </p15:clr>
        </p15:guide>
        <p15:guide id="15" orient="horz" pos="360" userDrawn="1">
          <p15:clr>
            <a:srgbClr val="F26B43"/>
          </p15:clr>
        </p15:guide>
        <p15:guide id="16" pos="641" userDrawn="1">
          <p15:clr>
            <a:srgbClr val="F26B43"/>
          </p15:clr>
        </p15:guide>
        <p15:guide id="17" pos="7038" userDrawn="1">
          <p15:clr>
            <a:srgbClr val="F26B43"/>
          </p15:clr>
        </p15:guide>
        <p15:guide id="18" orient="horz" pos="3597" userDrawn="1">
          <p15:clr>
            <a:srgbClr val="F26B43"/>
          </p15:clr>
        </p15:guide>
        <p15:guide id="19" orient="horz" pos="1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halbritter-lab.github.io/kidney-genetics/" TargetMode="Externa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halbritter-lab.github.io/kidney-genetics/analyses-plots.html#upset-plot-of-merged-analyses-sources" TargetMode="Externa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4AA06F5-3910-9580-221C-92049A8B14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2023-07-05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G Halbritt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88186F2-0ACA-A907-0EC2-2A42ED75D5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57935" y="3610466"/>
            <a:ext cx="2128086" cy="540116"/>
          </a:xfrm>
        </p:spPr>
        <p:txBody>
          <a:bodyPr/>
          <a:lstStyle/>
          <a:p>
            <a:r>
              <a:rPr lang="de-DE" sz="2000" b="1" dirty="0" smtClean="0"/>
              <a:t>KIDNEY - GENETICS</a:t>
            </a:r>
            <a:endParaRPr lang="de-DE" sz="2000" b="1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056A66FA-0392-54A9-7CBF-8B01F93C7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7079" y="4279769"/>
            <a:ext cx="3862900" cy="1677972"/>
          </a:xfrm>
        </p:spPr>
        <p:txBody>
          <a:bodyPr/>
          <a:lstStyle/>
          <a:p>
            <a:r>
              <a:rPr lang="en-US" sz="2000" dirty="0" smtClean="0">
                <a:sym typeface="Wingdings" panose="05000000000000000000" pitchFamily="2" charset="2"/>
              </a:rPr>
              <a:t>A REPRODUCIBLE, AUTOMATICALLY UPDATABLE, CURATED AND PUBLICLY AVAILABLE LIST OF ALL RELEVANT KIDNEY ASSOCIATED GENES</a:t>
            </a:r>
            <a:r>
              <a:rPr lang="en-US" sz="2400" dirty="0">
                <a:sym typeface="Wingdings" panose="05000000000000000000" pitchFamily="2" charset="2"/>
              </a:rPr>
              <a:t/>
            </a:r>
            <a:br>
              <a:rPr lang="en-US" sz="2400" dirty="0">
                <a:sym typeface="Wingdings" panose="05000000000000000000" pitchFamily="2" charset="2"/>
              </a:rPr>
            </a:br>
            <a:endParaRPr lang="de-DE" sz="1600" dirty="0">
              <a:latin typeface="+mn-lt"/>
            </a:endParaRPr>
          </a:p>
        </p:txBody>
      </p:sp>
      <p:pic>
        <p:nvPicPr>
          <p:cNvPr id="2" name="Bildplatzhalt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21546" r="21546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173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>
          <a:xfrm>
            <a:off x="6107587" y="966533"/>
            <a:ext cx="5577209" cy="48394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0699198-D88E-FC51-2F02-23497BB7A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 smtClean="0"/>
              <a:t>Kidney</a:t>
            </a:r>
            <a:r>
              <a:rPr lang="de-DE" sz="3200" dirty="0" smtClean="0"/>
              <a:t>-Genetics</a:t>
            </a:r>
            <a:endParaRPr lang="en-US" sz="32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F97171-E7F6-56FD-1796-94ED4C273B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315CE0-2C53-2CDA-651F-6D125EABA8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4686" y="1766783"/>
            <a:ext cx="4732346" cy="4039200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 err="1">
                <a:solidFill>
                  <a:schemeClr val="bg2"/>
                </a:solidFill>
              </a:rPr>
              <a:t>Aim</a:t>
            </a:r>
            <a:r>
              <a:rPr lang="de-DE" sz="2000" b="1" dirty="0">
                <a:solidFill>
                  <a:schemeClr val="bg2"/>
                </a:solidFill>
              </a:rPr>
              <a:t> </a:t>
            </a:r>
          </a:p>
          <a:p>
            <a:r>
              <a:rPr lang="en-US" sz="2000" dirty="0">
                <a:sym typeface="Wingdings" panose="05000000000000000000" pitchFamily="2" charset="2"/>
              </a:rPr>
              <a:t>Design a </a:t>
            </a:r>
            <a:r>
              <a:rPr lang="en-US" sz="2000" b="1" dirty="0">
                <a:sym typeface="Wingdings" panose="05000000000000000000" pitchFamily="2" charset="2"/>
              </a:rPr>
              <a:t>reproducible</a:t>
            </a:r>
            <a:r>
              <a:rPr lang="en-US" sz="2000" dirty="0">
                <a:sym typeface="Wingdings" panose="05000000000000000000" pitchFamily="2" charset="2"/>
              </a:rPr>
              <a:t>, automatically </a:t>
            </a:r>
            <a:r>
              <a:rPr lang="en-US" sz="2000" b="1" dirty="0">
                <a:sym typeface="Wingdings" panose="05000000000000000000" pitchFamily="2" charset="2"/>
              </a:rPr>
              <a:t>updatable, curated</a:t>
            </a:r>
            <a:r>
              <a:rPr lang="en-US" sz="2000" dirty="0">
                <a:sym typeface="Wingdings" panose="05000000000000000000" pitchFamily="2" charset="2"/>
              </a:rPr>
              <a:t> and </a:t>
            </a:r>
            <a:r>
              <a:rPr lang="en-US" sz="2000" b="1" dirty="0">
                <a:sym typeface="Wingdings" panose="05000000000000000000" pitchFamily="2" charset="2"/>
              </a:rPr>
              <a:t>publicly available</a:t>
            </a:r>
            <a:r>
              <a:rPr lang="en-US" sz="2000" dirty="0">
                <a:sym typeface="Wingdings" panose="05000000000000000000" pitchFamily="2" charset="2"/>
              </a:rPr>
              <a:t> list of all relevant kidney associated genes</a:t>
            </a:r>
          </a:p>
          <a:p>
            <a:pPr marL="0" indent="0">
              <a:buNone/>
            </a:pPr>
            <a:r>
              <a:rPr lang="de-DE" sz="2000" b="1" dirty="0" err="1">
                <a:solidFill>
                  <a:schemeClr val="bg2"/>
                </a:solidFill>
              </a:rPr>
              <a:t>Current</a:t>
            </a:r>
            <a:r>
              <a:rPr lang="de-DE" sz="2000" b="1" dirty="0">
                <a:solidFill>
                  <a:schemeClr val="bg2"/>
                </a:solidFill>
              </a:rPr>
              <a:t> </a:t>
            </a:r>
            <a:r>
              <a:rPr lang="de-DE" sz="2000" b="1" dirty="0" err="1">
                <a:solidFill>
                  <a:schemeClr val="bg2"/>
                </a:solidFill>
              </a:rPr>
              <a:t>status</a:t>
            </a:r>
            <a:endParaRPr lang="de-DE" sz="2000" b="1" dirty="0">
              <a:solidFill>
                <a:schemeClr val="bg2"/>
              </a:solidFill>
            </a:endParaRPr>
          </a:p>
          <a:p>
            <a:r>
              <a:rPr lang="en-US" sz="2000" dirty="0"/>
              <a:t>Coding of different evidence </a:t>
            </a:r>
            <a:r>
              <a:rPr lang="en-US" sz="2000" b="1" dirty="0"/>
              <a:t>pillars</a:t>
            </a:r>
          </a:p>
          <a:p>
            <a:r>
              <a:rPr lang="en-US" sz="2000" dirty="0"/>
              <a:t>Manual curation of high evident genes</a:t>
            </a:r>
          </a:p>
          <a:p>
            <a:r>
              <a:rPr lang="en-US" sz="2000" dirty="0"/>
              <a:t>Building an easy to use web interface</a:t>
            </a:r>
          </a:p>
          <a:p>
            <a:pPr marL="0" indent="0">
              <a:buNone/>
            </a:pPr>
            <a:r>
              <a:rPr lang="de-DE" sz="2000" b="1" dirty="0" err="1">
                <a:solidFill>
                  <a:schemeClr val="bg2"/>
                </a:solidFill>
              </a:rPr>
              <a:t>Perspective</a:t>
            </a:r>
            <a:endParaRPr lang="de-DE" sz="2000" b="1" dirty="0">
              <a:solidFill>
                <a:schemeClr val="bg2"/>
              </a:solidFill>
            </a:endParaRPr>
          </a:p>
          <a:p>
            <a:r>
              <a:rPr lang="en-US" sz="2000" b="1" dirty="0"/>
              <a:t>Evidence scorecard </a:t>
            </a:r>
            <a:r>
              <a:rPr lang="en-US" sz="2000" dirty="0"/>
              <a:t>and </a:t>
            </a:r>
            <a:r>
              <a:rPr lang="en-US" sz="2000" b="1" dirty="0"/>
              <a:t>Curation</a:t>
            </a:r>
            <a:endParaRPr lang="de-DE" sz="20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549295-19AD-88D0-B2EB-9353404C82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1523" y="966534"/>
            <a:ext cx="5598000" cy="244800"/>
          </a:xfrm>
        </p:spPr>
        <p:txBody>
          <a:bodyPr/>
          <a:lstStyle/>
          <a:p>
            <a:r>
              <a:rPr lang="de-DE" dirty="0"/>
              <a:t>Status quo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Zylinder 8"/>
          <p:cNvSpPr/>
          <p:nvPr/>
        </p:nvSpPr>
        <p:spPr>
          <a:xfrm>
            <a:off x="6345936" y="1931146"/>
            <a:ext cx="521208" cy="3710473"/>
          </a:xfrm>
          <a:prstGeom prst="ca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126000" tIns="72000" rIns="126000" bIns="72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de-DE" dirty="0" err="1">
                <a:solidFill>
                  <a:schemeClr val="tx1"/>
                </a:solidFill>
              </a:rPr>
              <a:t>Automatic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gula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ubTat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query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3" name="Zylinder 12"/>
          <p:cNvSpPr/>
          <p:nvPr/>
        </p:nvSpPr>
        <p:spPr>
          <a:xfrm>
            <a:off x="7238222" y="1931142"/>
            <a:ext cx="521208" cy="3710473"/>
          </a:xfrm>
          <a:prstGeom prst="ca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126000" tIns="72000" rIns="126000" bIns="72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de-DE" dirty="0" err="1">
                <a:solidFill>
                  <a:schemeClr val="tx1"/>
                </a:solidFill>
              </a:rPr>
              <a:t>Automat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anelApp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quest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" name="Zylinder 13"/>
          <p:cNvSpPr/>
          <p:nvPr/>
        </p:nvSpPr>
        <p:spPr>
          <a:xfrm>
            <a:off x="8153232" y="1937912"/>
            <a:ext cx="521208" cy="3710473"/>
          </a:xfrm>
          <a:prstGeom prst="ca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126000" tIns="72000" rIns="126000" bIns="72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de-DE" dirty="0" err="1">
                <a:solidFill>
                  <a:schemeClr val="tx1"/>
                </a:solidFill>
              </a:rPr>
              <a:t>Literatur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ques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Kidney</a:t>
            </a:r>
            <a:r>
              <a:rPr lang="de-DE" dirty="0">
                <a:solidFill>
                  <a:schemeClr val="tx1"/>
                </a:solidFill>
              </a:rPr>
              <a:t> Panels</a:t>
            </a:r>
          </a:p>
        </p:txBody>
      </p:sp>
      <p:sp>
        <p:nvSpPr>
          <p:cNvPr id="15" name="Zylinder 14"/>
          <p:cNvSpPr/>
          <p:nvPr/>
        </p:nvSpPr>
        <p:spPr>
          <a:xfrm>
            <a:off x="9068242" y="1931141"/>
            <a:ext cx="521208" cy="3710473"/>
          </a:xfrm>
          <a:prstGeom prst="ca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126000" tIns="72000" rIns="126000" bIns="72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solidFill>
                  <a:schemeClr val="tx1"/>
                </a:solidFill>
              </a:rPr>
              <a:t>Clinical </a:t>
            </a:r>
            <a:r>
              <a:rPr lang="de-DE" dirty="0" err="1">
                <a:solidFill>
                  <a:schemeClr val="tx1"/>
                </a:solidFill>
              </a:rPr>
              <a:t>diagnostic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anel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ata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Zylinder 15"/>
          <p:cNvSpPr/>
          <p:nvPr/>
        </p:nvSpPr>
        <p:spPr>
          <a:xfrm>
            <a:off x="10879960" y="1931140"/>
            <a:ext cx="521208" cy="3710473"/>
          </a:xfrm>
          <a:prstGeom prst="ca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126000" tIns="72000" rIns="126000" bIns="72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de-DE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ClinGen</a:t>
            </a:r>
            <a:r>
              <a:rPr lang="de-DE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curated</a:t>
            </a:r>
            <a:r>
              <a:rPr lang="de-DE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gene</a:t>
            </a:r>
            <a:r>
              <a:rPr lang="de-DE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lists</a:t>
            </a:r>
            <a:endParaRPr lang="de-DE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Zylinder 16"/>
          <p:cNvSpPr/>
          <p:nvPr/>
        </p:nvSpPr>
        <p:spPr>
          <a:xfrm>
            <a:off x="9983252" y="1931140"/>
            <a:ext cx="521208" cy="3710473"/>
          </a:xfrm>
          <a:prstGeom prst="ca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126000" tIns="72000" rIns="126000" bIns="72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solidFill>
                  <a:schemeClr val="tx1"/>
                </a:solidFill>
              </a:rPr>
              <a:t>HPO </a:t>
            </a:r>
            <a:r>
              <a:rPr lang="de-DE" dirty="0" err="1">
                <a:solidFill>
                  <a:schemeClr val="tx1"/>
                </a:solidFill>
              </a:rPr>
              <a:t>bas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earch</a:t>
            </a:r>
            <a:r>
              <a:rPr lang="de-DE" dirty="0">
                <a:solidFill>
                  <a:schemeClr val="tx1"/>
                </a:solidFill>
              </a:rPr>
              <a:t> in OMIM/</a:t>
            </a:r>
            <a:r>
              <a:rPr lang="de-DE" dirty="0" err="1">
                <a:solidFill>
                  <a:schemeClr val="tx1"/>
                </a:solidFill>
              </a:rPr>
              <a:t>Orpha</a:t>
            </a:r>
            <a:r>
              <a:rPr lang="de-DE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Gleichschenkliges Dreieck 11"/>
          <p:cNvSpPr/>
          <p:nvPr/>
        </p:nvSpPr>
        <p:spPr>
          <a:xfrm>
            <a:off x="6096000" y="1088934"/>
            <a:ext cx="5577209" cy="891786"/>
          </a:xfrm>
          <a:prstGeom prst="triangle">
            <a:avLst>
              <a:gd name="adj" fmla="val 50532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26000" tIns="72000" rIns="126000" bIns="7200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de-DE" sz="1600" b="1" dirty="0">
                <a:solidFill>
                  <a:schemeClr val="bg1"/>
                </a:solidFill>
              </a:rPr>
              <a:t>CURATED GENE LIST</a:t>
            </a: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3348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t="9636"/>
          <a:stretch/>
        </p:blipFill>
        <p:spPr>
          <a:xfrm>
            <a:off x="3675888" y="975480"/>
            <a:ext cx="8008908" cy="5259801"/>
          </a:xfrm>
          <a:prstGeom prst="rect">
            <a:avLst/>
          </a:prstGeom>
        </p:spPr>
      </p:pic>
      <p:sp>
        <p:nvSpPr>
          <p:cNvPr id="10" name="Titel 3">
            <a:extLst>
              <a:ext uri="{FF2B5EF4-FFF2-40B4-BE49-F238E27FC236}">
                <a16:creationId xmlns:a16="http://schemas.microsoft.com/office/drawing/2014/main" id="{10699198-D88E-FC51-2F02-23497BB7A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5598000" cy="403200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1"/>
                </a:solidFill>
              </a:rPr>
              <a:t>Kidney</a:t>
            </a:r>
            <a:r>
              <a:rPr lang="de-DE" sz="3200" dirty="0" smtClean="0">
                <a:solidFill>
                  <a:schemeClr val="bg1"/>
                </a:solidFill>
              </a:rPr>
              <a:t>-Genetics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E549295-19AD-88D0-B2EB-9353404C82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1523" y="966534"/>
            <a:ext cx="5598000" cy="244800"/>
          </a:xfrm>
        </p:spPr>
        <p:txBody>
          <a:bodyPr/>
          <a:lstStyle/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Status quo</a:t>
            </a:r>
          </a:p>
        </p:txBody>
      </p:sp>
      <p:sp>
        <p:nvSpPr>
          <p:cNvPr id="16" name="Rechteck 15"/>
          <p:cNvSpPr/>
          <p:nvPr/>
        </p:nvSpPr>
        <p:spPr>
          <a:xfrm>
            <a:off x="643067" y="1698998"/>
            <a:ext cx="1233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Flowchart</a:t>
            </a:r>
            <a:r>
              <a:rPr lang="de-DE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: </a:t>
            </a:r>
          </a:p>
        </p:txBody>
      </p:sp>
      <p:cxnSp>
        <p:nvCxnSpPr>
          <p:cNvPr id="3" name="Gerade Verbindung mit Pfeil 2"/>
          <p:cNvCxnSpPr/>
          <p:nvPr/>
        </p:nvCxnSpPr>
        <p:spPr>
          <a:xfrm>
            <a:off x="7580659" y="5961888"/>
            <a:ext cx="7919" cy="1240190"/>
          </a:xfrm>
          <a:prstGeom prst="straightConnector1">
            <a:avLst/>
          </a:prstGeom>
          <a:ln w="28575">
            <a:solidFill>
              <a:srgbClr val="1D337B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622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10699198-D88E-FC51-2F02-23497BB7A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5598000" cy="403200"/>
          </a:xfrm>
        </p:spPr>
        <p:txBody>
          <a:bodyPr/>
          <a:lstStyle/>
          <a:p>
            <a:r>
              <a:rPr lang="de-DE" sz="3200" dirty="0" err="1" smtClean="0">
                <a:solidFill>
                  <a:schemeClr val="bg1"/>
                </a:solidFill>
              </a:rPr>
              <a:t>Kidney</a:t>
            </a:r>
            <a:r>
              <a:rPr lang="de-DE" sz="3200" dirty="0" smtClean="0">
                <a:solidFill>
                  <a:schemeClr val="bg1"/>
                </a:solidFill>
              </a:rPr>
              <a:t>-Genetics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E549295-19AD-88D0-B2EB-9353404C82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1523" y="966534"/>
            <a:ext cx="5598000" cy="244800"/>
          </a:xfrm>
        </p:spPr>
        <p:txBody>
          <a:bodyPr/>
          <a:lstStyle/>
          <a:p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Status quo</a:t>
            </a:r>
          </a:p>
        </p:txBody>
      </p:sp>
      <p:sp>
        <p:nvSpPr>
          <p:cNvPr id="16" name="Rechteck 15"/>
          <p:cNvSpPr/>
          <p:nvPr/>
        </p:nvSpPr>
        <p:spPr>
          <a:xfrm>
            <a:off x="643067" y="1698998"/>
            <a:ext cx="1233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err="1">
                <a:solidFill>
                  <a:schemeClr val="bg2">
                    <a:lumMod val="60000"/>
                    <a:lumOff val="40000"/>
                  </a:schemeClr>
                </a:solidFill>
              </a:rPr>
              <a:t>Flowchart</a:t>
            </a:r>
            <a:r>
              <a:rPr lang="de-DE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: </a:t>
            </a:r>
          </a:p>
        </p:txBody>
      </p:sp>
      <p:pic>
        <p:nvPicPr>
          <p:cNvPr id="5124" name="Picture 4" descr="curation_flow_diagram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48"/>
          <a:stretch/>
        </p:blipFill>
        <p:spPr bwMode="auto">
          <a:xfrm>
            <a:off x="3703320" y="966534"/>
            <a:ext cx="7981476" cy="526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Gerade Verbindung mit Pfeil 7"/>
          <p:cNvCxnSpPr/>
          <p:nvPr/>
        </p:nvCxnSpPr>
        <p:spPr>
          <a:xfrm flipH="1">
            <a:off x="7589520" y="-103695"/>
            <a:ext cx="8484" cy="1395356"/>
          </a:xfrm>
          <a:prstGeom prst="straightConnector1">
            <a:avLst/>
          </a:prstGeom>
          <a:ln w="28575">
            <a:solidFill>
              <a:srgbClr val="1D337B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373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10699198-D88E-FC51-2F02-23497BB7A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5598000" cy="403200"/>
          </a:xfrm>
        </p:spPr>
        <p:txBody>
          <a:bodyPr/>
          <a:lstStyle/>
          <a:p>
            <a:r>
              <a:rPr lang="de-DE" sz="3200" dirty="0" err="1" smtClean="0"/>
              <a:t>Kidney</a:t>
            </a:r>
            <a:r>
              <a:rPr lang="de-DE" sz="3200" dirty="0" smtClean="0"/>
              <a:t>-Genetics</a:t>
            </a:r>
            <a:endParaRPr lang="en-US" sz="3200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E549295-19AD-88D0-B2EB-9353404C828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09587" y="903644"/>
            <a:ext cx="2850445" cy="2448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tx2"/>
                </a:solidFill>
                <a:latin typeface="+mj-lt"/>
              </a:rPr>
              <a:t>Status quo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7952" y="1174419"/>
            <a:ext cx="7496844" cy="5106724"/>
          </a:xfrm>
          <a:prstGeom prst="rect">
            <a:avLst/>
          </a:prstGeom>
        </p:spPr>
      </p:pic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7C315CE0-2C53-2CDA-651F-6D125EABA8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4686" y="1766783"/>
            <a:ext cx="2940140" cy="2988097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 err="1">
                <a:solidFill>
                  <a:schemeClr val="bg2"/>
                </a:solidFill>
              </a:rPr>
              <a:t>Current</a:t>
            </a:r>
            <a:r>
              <a:rPr lang="de-DE" sz="2000" b="1" dirty="0">
                <a:solidFill>
                  <a:schemeClr val="bg2"/>
                </a:solidFill>
              </a:rPr>
              <a:t> </a:t>
            </a:r>
            <a:r>
              <a:rPr lang="de-DE" sz="2000" b="1" dirty="0" err="1">
                <a:solidFill>
                  <a:schemeClr val="bg2"/>
                </a:solidFill>
              </a:rPr>
              <a:t>status</a:t>
            </a:r>
            <a:endParaRPr lang="de-DE" sz="2000" b="1" dirty="0">
              <a:solidFill>
                <a:schemeClr val="bg2"/>
              </a:solidFill>
            </a:endParaRPr>
          </a:p>
          <a:p>
            <a:r>
              <a:rPr lang="en-US" sz="2000" dirty="0"/>
              <a:t>Publicly accessible GitHub page with all code</a:t>
            </a:r>
          </a:p>
          <a:p>
            <a:r>
              <a:rPr lang="en-US" sz="2000" b="1" dirty="0">
                <a:solidFill>
                  <a:schemeClr val="tx2"/>
                </a:solidFill>
              </a:rPr>
              <a:t>https://github.com/halbritter-lab/kidney-genetics</a:t>
            </a:r>
          </a:p>
          <a:p>
            <a:r>
              <a:rPr lang="en-US" sz="2000" dirty="0"/>
              <a:t>We document all steps there to make it as reproducible as </a:t>
            </a:r>
            <a:r>
              <a:rPr lang="en-US" sz="2000" dirty="0" smtClean="0"/>
              <a:t>possible</a:t>
            </a:r>
          </a:p>
          <a:p>
            <a:r>
              <a:rPr lang="en-US" sz="2000" dirty="0"/>
              <a:t>Annotation of </a:t>
            </a:r>
            <a:r>
              <a:rPr lang="en-US" sz="2000" dirty="0" smtClean="0"/>
              <a:t>Genes</a:t>
            </a:r>
            <a:endParaRPr lang="en-US" sz="200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15222" y="500444"/>
            <a:ext cx="1693926" cy="1693926"/>
          </a:xfrm>
          <a:prstGeom prst="rect">
            <a:avLst/>
          </a:prstGeom>
        </p:spPr>
      </p:pic>
      <p:sp>
        <p:nvSpPr>
          <p:cNvPr id="13" name="Fußzeilenplatzhalter 2"/>
          <p:cNvSpPr txBox="1">
            <a:spLocks/>
          </p:cNvSpPr>
          <p:nvPr/>
        </p:nvSpPr>
        <p:spPr>
          <a:xfrm>
            <a:off x="4276583" y="6281432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2"/>
                </a:solidFill>
                <a:hlinkClick r:id="rId6"/>
              </a:rPr>
              <a:t>https://halbritter-lab.github.io/kidney-genetics/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0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9056" y="1852826"/>
            <a:ext cx="9695740" cy="4039892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10699198-D88E-FC51-2F02-23497BB7A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5598000" cy="403200"/>
          </a:xfrm>
        </p:spPr>
        <p:txBody>
          <a:bodyPr/>
          <a:lstStyle/>
          <a:p>
            <a:r>
              <a:rPr lang="de-DE" sz="3200" dirty="0" err="1" smtClean="0"/>
              <a:t>Kidney</a:t>
            </a:r>
            <a:r>
              <a:rPr lang="de-DE" sz="3200" dirty="0" smtClean="0"/>
              <a:t>-Genetics</a:t>
            </a:r>
            <a:endParaRPr lang="en-US" sz="3200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E549295-19AD-88D0-B2EB-9353404C828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09587" y="903561"/>
            <a:ext cx="5598000" cy="2448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tx2"/>
                </a:solidFill>
                <a:latin typeface="+mj-lt"/>
              </a:rPr>
              <a:t>Status quo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7C315CE0-2C53-2CDA-651F-6D125EABA8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54686" y="1766783"/>
            <a:ext cx="3087546" cy="2988097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 err="1">
                <a:solidFill>
                  <a:schemeClr val="bg2"/>
                </a:solidFill>
              </a:rPr>
              <a:t>Current</a:t>
            </a:r>
            <a:r>
              <a:rPr lang="de-DE" sz="2000" b="1" dirty="0">
                <a:solidFill>
                  <a:schemeClr val="bg2"/>
                </a:solidFill>
              </a:rPr>
              <a:t> </a:t>
            </a:r>
            <a:r>
              <a:rPr lang="de-DE" sz="2000" b="1" dirty="0" err="1">
                <a:solidFill>
                  <a:schemeClr val="bg2"/>
                </a:solidFill>
              </a:rPr>
              <a:t>status</a:t>
            </a:r>
            <a:endParaRPr lang="de-DE" sz="2000" b="1" dirty="0">
              <a:solidFill>
                <a:schemeClr val="bg2"/>
              </a:solidFill>
            </a:endParaRPr>
          </a:p>
          <a:p>
            <a:r>
              <a:rPr lang="en-US" sz="2000" dirty="0"/>
              <a:t>Automated separation of the merged genes into </a:t>
            </a:r>
            <a:r>
              <a:rPr lang="en-US" sz="2000" b="1" dirty="0"/>
              <a:t>different categories</a:t>
            </a:r>
            <a:r>
              <a:rPr lang="en-US" sz="2000" b="1" dirty="0" smtClean="0"/>
              <a:t>: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i="1" dirty="0" smtClean="0">
                <a:solidFill>
                  <a:schemeClr val="tx2"/>
                </a:solidFill>
              </a:rPr>
              <a:t>  -phenotype</a:t>
            </a:r>
            <a:r>
              <a:rPr lang="en-US" sz="2000" i="1" dirty="0">
                <a:solidFill>
                  <a:schemeClr val="tx2"/>
                </a:solidFill>
              </a:rPr>
              <a:t/>
            </a:r>
            <a:br>
              <a:rPr lang="en-US" sz="2000" i="1" dirty="0">
                <a:solidFill>
                  <a:schemeClr val="tx2"/>
                </a:solidFill>
              </a:rPr>
            </a:br>
            <a:r>
              <a:rPr lang="en-US" sz="2000" i="1" dirty="0" smtClean="0">
                <a:solidFill>
                  <a:schemeClr val="tx2"/>
                </a:solidFill>
              </a:rPr>
              <a:t>  -</a:t>
            </a:r>
            <a:r>
              <a:rPr lang="en-US" sz="2000" i="1" dirty="0">
                <a:solidFill>
                  <a:schemeClr val="tx2"/>
                </a:solidFill>
              </a:rPr>
              <a:t>onset (adult/young)</a:t>
            </a:r>
            <a:br>
              <a:rPr lang="en-US" sz="2000" i="1" dirty="0">
                <a:solidFill>
                  <a:schemeClr val="tx2"/>
                </a:solidFill>
              </a:rPr>
            </a:br>
            <a:r>
              <a:rPr lang="en-US" sz="2000" i="1" dirty="0" smtClean="0">
                <a:solidFill>
                  <a:schemeClr val="tx2"/>
                </a:solidFill>
              </a:rPr>
              <a:t>  -syndromic/non-syndromic</a:t>
            </a:r>
            <a:endParaRPr lang="en-US" sz="2000" i="1" dirty="0">
              <a:solidFill>
                <a:schemeClr val="tx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15222" y="500444"/>
            <a:ext cx="1693926" cy="1693926"/>
          </a:xfrm>
          <a:prstGeom prst="rect">
            <a:avLst/>
          </a:prstGeom>
        </p:spPr>
      </p:pic>
      <p:sp>
        <p:nvSpPr>
          <p:cNvPr id="10" name="Fußzeilenplatzhalter 2"/>
          <p:cNvSpPr txBox="1">
            <a:spLocks/>
          </p:cNvSpPr>
          <p:nvPr/>
        </p:nvSpPr>
        <p:spPr>
          <a:xfrm>
            <a:off x="4276855" y="6307118"/>
            <a:ext cx="6036341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2"/>
                </a:solidFill>
                <a:hlinkClick r:id="rId6"/>
              </a:rPr>
              <a:t>https://halbritter-lab.github.io/kidney-genetics/analyses-plots.html#upset-plot-of-merged-analyses-sources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584569" y="155147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/>
              <a:t>UpSet</a:t>
            </a:r>
            <a:r>
              <a:rPr lang="en-US" b="1" dirty="0"/>
              <a:t> plot of merged analyses sources</a:t>
            </a:r>
          </a:p>
        </p:txBody>
      </p:sp>
    </p:spTree>
    <p:extLst>
      <p:ext uri="{BB962C8B-B14F-4D97-AF65-F5344CB8AC3E}">
        <p14:creationId xmlns:p14="http://schemas.microsoft.com/office/powerpoint/2010/main" val="20495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10699198-D88E-FC51-2F02-23497BB7A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1487" y="2967419"/>
            <a:ext cx="3500438" cy="403200"/>
          </a:xfrm>
        </p:spPr>
        <p:txBody>
          <a:bodyPr/>
          <a:lstStyle/>
          <a:p>
            <a:pPr algn="ctr"/>
            <a:r>
              <a:rPr lang="de-DE" sz="3600" dirty="0" err="1"/>
              <a:t>Any</a:t>
            </a:r>
            <a:r>
              <a:rPr lang="de-DE" sz="3600" dirty="0"/>
              <a:t> </a:t>
            </a:r>
            <a:r>
              <a:rPr lang="de-DE" sz="3600" dirty="0" err="1"/>
              <a:t>more</a:t>
            </a:r>
            <a:r>
              <a:rPr lang="de-DE" sz="3600" dirty="0"/>
              <a:t> </a:t>
            </a:r>
            <a:r>
              <a:rPr lang="de-DE" sz="3600" dirty="0" err="1"/>
              <a:t>questions</a:t>
            </a:r>
            <a:r>
              <a:rPr lang="de-DE" sz="3600" dirty="0"/>
              <a:t>?</a:t>
            </a:r>
            <a:endParaRPr lang="en-US" sz="3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G Halbrit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4694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go7.ycHTK.nckndY31pQ"/>
</p:tagLst>
</file>

<file path=ppt/theme/theme1.xml><?xml version="1.0" encoding="utf-8"?>
<a:theme xmlns:a="http://schemas.openxmlformats.org/drawingml/2006/main" name="Charite_potx">
  <a:themeElements>
    <a:clrScheme name="Charite Designfarben">
      <a:dk1>
        <a:srgbClr val="000000"/>
      </a:dk1>
      <a:lt1>
        <a:sysClr val="window" lastClr="FFFFFF"/>
      </a:lt1>
      <a:dk2>
        <a:srgbClr val="5E676C"/>
      </a:dk2>
      <a:lt2>
        <a:srgbClr val="EA5451"/>
      </a:lt2>
      <a:accent1>
        <a:srgbClr val="002552"/>
      </a:accent1>
      <a:accent2>
        <a:srgbClr val="004D9B"/>
      </a:accent2>
      <a:accent3>
        <a:srgbClr val="0077BE"/>
      </a:accent3>
      <a:accent4>
        <a:srgbClr val="5E676C"/>
      </a:accent4>
      <a:accent5>
        <a:srgbClr val="7E898F"/>
      </a:accent5>
      <a:accent6>
        <a:srgbClr val="CBCFD2"/>
      </a:accent6>
      <a:hlink>
        <a:srgbClr val="000000"/>
      </a:hlink>
      <a:folHlink>
        <a:srgbClr val="5E676C"/>
      </a:folHlink>
    </a:clrScheme>
    <a:fontScheme name="Charite Fonts">
      <a:majorFont>
        <a:latin typeface="Charité Headline Office"/>
        <a:ea typeface=""/>
        <a:cs typeface=""/>
      </a:majorFont>
      <a:minorFont>
        <a:latin typeface="Charité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>
          <a:noFill/>
        </a:ln>
      </a:spPr>
      <a:bodyPr lIns="126000" tIns="72000" rIns="126000" bIns="72000" rtlCol="0" anchor="t">
        <a:noAutofit/>
      </a:bodyPr>
      <a:lstStyle>
        <a:defPPr algn="l">
          <a:spcAft>
            <a:spcPts val="600"/>
          </a:spcAft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 anchor="ctr"/>
      <a:lstStyle>
        <a:defPPr>
          <a:defRPr dirty="0"/>
        </a:defPPr>
      </a:lstStyle>
    </a:txDef>
  </a:objectDefaults>
  <a:extraClrSchemeLst/>
  <a:custClrLst>
    <a:custClr name="FunktionsfarbeRot">
      <a:srgbClr val="D31D19"/>
    </a:custClr>
    <a:custClr name="FunktionsfarbeGruen">
      <a:srgbClr val="78AD6C"/>
    </a:custClr>
  </a:custClrLst>
  <a:extLst>
    <a:ext uri="{05A4C25C-085E-4340-85A3-A5531E510DB2}">
      <thm15:themeFamily xmlns:thm15="http://schemas.microsoft.com/office/thememl/2012/main" name="230123_charite_cd_pptvorlage.pptx" id="{71C601E7-8E81-44A5-9F3A-8D8210D2A817}" vid="{92991BC5-A938-46D6-92C7-4ED70442C7F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dbdbd81-b369-4c79-95e5-7d3337fdb20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43C3A0C52BA048A5437E4036F3E82D" ma:contentTypeVersion="11" ma:contentTypeDescription="Create a new document." ma:contentTypeScope="" ma:versionID="3b6b270c7f8ad66842dbe4c1f7456dc4">
  <xsd:schema xmlns:xsd="http://www.w3.org/2001/XMLSchema" xmlns:xs="http://www.w3.org/2001/XMLSchema" xmlns:p="http://schemas.microsoft.com/office/2006/metadata/properties" xmlns:ns3="0b54be4c-aeab-4315-b01b-300b9c507d47" xmlns:ns4="3dbdbd81-b369-4c79-95e5-7d3337fdb207" targetNamespace="http://schemas.microsoft.com/office/2006/metadata/properties" ma:root="true" ma:fieldsID="7c17ed14039a2a3391932df525888b4e" ns3:_="" ns4:_="">
    <xsd:import namespace="0b54be4c-aeab-4315-b01b-300b9c507d47"/>
    <xsd:import namespace="3dbdbd81-b369-4c79-95e5-7d3337fdb20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_activity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54be4c-aeab-4315-b01b-300b9c507d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bdbd81-b369-4c79-95e5-7d3337fdb2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7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F4890B-03DE-4DC4-9F13-87C264544B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494BAF0-D841-46E0-9A98-25583C1D875B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0b54be4c-aeab-4315-b01b-300b9c507d47"/>
    <ds:schemaRef ds:uri="http://purl.org/dc/terms/"/>
    <ds:schemaRef ds:uri="3dbdbd81-b369-4c79-95e5-7d3337fdb207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512A8F2-4647-457F-8597-81571BF6F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54be4c-aeab-4315-b01b-300b9c507d47"/>
    <ds:schemaRef ds:uri="3dbdbd81-b369-4c79-95e5-7d3337fdb2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arite_potx</Template>
  <TotalTime>0</TotalTime>
  <Words>209</Words>
  <Application>Microsoft Office PowerPoint</Application>
  <PresentationFormat>Breitbild</PresentationFormat>
  <Paragraphs>56</Paragraphs>
  <Slides>7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rial</vt:lpstr>
      <vt:lpstr>Calibri</vt:lpstr>
      <vt:lpstr>Charité Headline Office</vt:lpstr>
      <vt:lpstr>Charité Headline Office Light</vt:lpstr>
      <vt:lpstr>Charité Text Office</vt:lpstr>
      <vt:lpstr>Charité Text Office Medium</vt:lpstr>
      <vt:lpstr>Wingdings</vt:lpstr>
      <vt:lpstr>Charite_potx</vt:lpstr>
      <vt:lpstr>think-cell Folie</vt:lpstr>
      <vt:lpstr>A REPRODUCIBLE, AUTOMATICALLY UPDATABLE, CURATED AND PUBLICLY AVAILABLE LIST OF ALL RELEVANT KIDNEY ASSOCIATED GENES </vt:lpstr>
      <vt:lpstr>Kidney-Genetics</vt:lpstr>
      <vt:lpstr>Kidney-Genetics</vt:lpstr>
      <vt:lpstr>Kidney-Genetics</vt:lpstr>
      <vt:lpstr>Kidney-Genetics</vt:lpstr>
      <vt:lpstr>Kidney-Genetics</vt:lpstr>
      <vt:lpstr>Any more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 Vorname Nachname |   X. Monat 20XX | Ort</dc:title>
  <dc:creator>Wolff, Constantin Aaron</dc:creator>
  <cp:lastModifiedBy>Wolff, Constantin Aaron</cp:lastModifiedBy>
  <cp:revision>97</cp:revision>
  <dcterms:created xsi:type="dcterms:W3CDTF">2023-02-13T13:58:20Z</dcterms:created>
  <dcterms:modified xsi:type="dcterms:W3CDTF">2023-07-05T12:1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43C3A0C52BA048A5437E4036F3E82D</vt:lpwstr>
  </property>
</Properties>
</file>